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  <p:sldMasterId id="2147483674" r:id="rId3"/>
    <p:sldMasterId id="2147483681" r:id="rId4"/>
    <p:sldMasterId id="2147483693" r:id="rId5"/>
  </p:sldMasterIdLst>
  <p:sldIdLst>
    <p:sldId id="257" r:id="rId6"/>
    <p:sldId id="310" r:id="rId7"/>
    <p:sldId id="274" r:id="rId8"/>
    <p:sldId id="311" r:id="rId9"/>
    <p:sldId id="265" r:id="rId10"/>
    <p:sldId id="292" r:id="rId11"/>
    <p:sldId id="293" r:id="rId12"/>
    <p:sldId id="294" r:id="rId13"/>
    <p:sldId id="315" r:id="rId14"/>
    <p:sldId id="297" r:id="rId15"/>
    <p:sldId id="298" r:id="rId16"/>
    <p:sldId id="299" r:id="rId17"/>
    <p:sldId id="300" r:id="rId18"/>
    <p:sldId id="301" r:id="rId19"/>
    <p:sldId id="302" r:id="rId20"/>
    <p:sldId id="303" r:id="rId21"/>
    <p:sldId id="304" r:id="rId22"/>
    <p:sldId id="305" r:id="rId23"/>
    <p:sldId id="307" r:id="rId24"/>
    <p:sldId id="263" r:id="rId25"/>
    <p:sldId id="266" r:id="rId26"/>
    <p:sldId id="280" r:id="rId27"/>
    <p:sldId id="312" r:id="rId28"/>
    <p:sldId id="286" r:id="rId29"/>
    <p:sldId id="267" r:id="rId30"/>
    <p:sldId id="271" r:id="rId31"/>
    <p:sldId id="270" r:id="rId32"/>
    <p:sldId id="283" r:id="rId33"/>
    <p:sldId id="282" r:id="rId34"/>
    <p:sldId id="288" r:id="rId35"/>
    <p:sldId id="272" r:id="rId36"/>
    <p:sldId id="308" r:id="rId37"/>
    <p:sldId id="313" r:id="rId38"/>
    <p:sldId id="285" r:id="rId39"/>
    <p:sldId id="287" r:id="rId40"/>
    <p:sldId id="316" r:id="rId41"/>
    <p:sldId id="314" r:id="rId42"/>
    <p:sldId id="317" r:id="rId43"/>
  </p:sldIdLst>
  <p:sldSz cx="12192000" cy="6858000"/>
  <p:notesSz cx="6858000" cy="9144000"/>
  <p:custShowLst>
    <p:custShow name="Call graph" id="0">
      <p:sldLst>
        <p:sld r:id="rId39"/>
      </p:sldLst>
    </p:custShow>
  </p:custShow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B8B"/>
    <a:srgbClr val="6AC68F"/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90" d="100"/>
          <a:sy n="90" d="100"/>
        </p:scale>
        <p:origin x="326" y="53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heme" Target="theme/theme1.xml"/><Relationship Id="rId20" Type="http://schemas.openxmlformats.org/officeDocument/2006/relationships/slide" Target="slides/slide15.xml"/><Relationship Id="rId41" Type="http://schemas.openxmlformats.org/officeDocument/2006/relationships/slide" Target="slides/slide3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scatterChart>
        <c:scatterStyle val="smoothMarker"/>
        <c:varyColors val="0"/>
        <c:ser>
          <c:idx val="0"/>
          <c:order val="0"/>
          <c:tx>
            <c:v>gSpan</c:v>
          </c:tx>
          <c:spPr>
            <a:ln w="28575">
              <a:solidFill>
                <a:schemeClr val="accent1">
                  <a:alpha val="70000"/>
                </a:schemeClr>
              </a:solidFill>
            </a:ln>
            <a:effectLst/>
          </c:spPr>
          <c:marker>
            <c:symbol val="circle"/>
            <c:size val="4"/>
            <c:spPr>
              <a:solidFill>
                <a:schemeClr val="accent1"/>
              </a:solidFill>
              <a:ln w="9525" cap="flat" cmpd="sng" algn="ctr">
                <a:solidFill>
                  <a:schemeClr val="accent1"/>
                </a:solidFill>
                <a:round/>
              </a:ln>
              <a:effectLst/>
            </c:spPr>
          </c:marker>
          <c:trendline>
            <c:spPr>
              <a:ln w="63500" cap="rnd" cmpd="sng" algn="ctr">
                <a:solidFill>
                  <a:schemeClr val="accent1">
                    <a:alpha val="25000"/>
                  </a:schemeClr>
                </a:solidFill>
                <a:round/>
              </a:ln>
              <a:effectLst/>
            </c:spPr>
            <c:trendlineType val="linear"/>
            <c:dispRSqr val="0"/>
            <c:dispEq val="0"/>
          </c:trendline>
          <c:xVal>
            <c:numRef>
              <c:f>Sheet1!$A$2:$A$6</c:f>
              <c:numCache>
                <c:formatCode>0%</c:formatCode>
                <c:ptCount val="5"/>
                <c:pt idx="0">
                  <c:v>0.7</c:v>
                </c:pt>
                <c:pt idx="1">
                  <c:v>0.75</c:v>
                </c:pt>
                <c:pt idx="2">
                  <c:v>0.8</c:v>
                </c:pt>
                <c:pt idx="3">
                  <c:v>0.85</c:v>
                </c:pt>
                <c:pt idx="4">
                  <c:v>0.9</c:v>
                </c:pt>
              </c:numCache>
            </c:numRef>
          </c:xVal>
          <c:yVal>
            <c:numRef>
              <c:f>Sheet1!$B$2:$B$6</c:f>
              <c:numCache>
                <c:formatCode>General</c:formatCode>
                <c:ptCount val="5"/>
                <c:pt idx="0">
                  <c:v>23</c:v>
                </c:pt>
                <c:pt idx="1">
                  <c:v>20</c:v>
                </c:pt>
                <c:pt idx="2">
                  <c:v>12</c:v>
                </c:pt>
                <c:pt idx="3">
                  <c:v>9</c:v>
                </c:pt>
                <c:pt idx="4">
                  <c:v>7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8A9-4408-8372-AB41904903F6}"/>
            </c:ext>
          </c:extLst>
        </c:ser>
        <c:ser>
          <c:idx val="1"/>
          <c:order val="1"/>
          <c:tx>
            <c:v>MaxPWS</c:v>
          </c:tx>
          <c:spPr>
            <a:ln w="28575">
              <a:solidFill>
                <a:schemeClr val="accent2">
                  <a:lumMod val="75000"/>
                  <a:alpha val="70000"/>
                </a:schemeClr>
              </a:solidFill>
            </a:ln>
            <a:effectLst/>
          </c:spPr>
          <c:marker>
            <c:symbol val="circle"/>
            <c:size val="4"/>
            <c:spPr>
              <a:solidFill>
                <a:schemeClr val="accent2"/>
              </a:solidFill>
              <a:ln w="9525" cap="flat" cmpd="sng" algn="ctr">
                <a:solidFill>
                  <a:schemeClr val="accent2"/>
                </a:solidFill>
                <a:round/>
              </a:ln>
              <a:effectLst/>
            </c:spPr>
          </c:marker>
          <c:trendline>
            <c:spPr>
              <a:ln w="63500" cap="rnd" cmpd="sng" algn="ctr">
                <a:solidFill>
                  <a:schemeClr val="accent1">
                    <a:alpha val="25000"/>
                  </a:schemeClr>
                </a:solidFill>
                <a:round/>
              </a:ln>
              <a:effectLst/>
            </c:spPr>
            <c:trendlineType val="linear"/>
            <c:dispRSqr val="0"/>
            <c:dispEq val="0"/>
          </c:trendline>
          <c:xVal>
            <c:numRef>
              <c:f>Sheet1!$A$9:$A$13</c:f>
              <c:numCache>
                <c:formatCode>0%</c:formatCode>
                <c:ptCount val="5"/>
                <c:pt idx="0">
                  <c:v>0.7</c:v>
                </c:pt>
                <c:pt idx="1">
                  <c:v>0.75</c:v>
                </c:pt>
                <c:pt idx="2">
                  <c:v>0.8</c:v>
                </c:pt>
                <c:pt idx="3">
                  <c:v>0.85</c:v>
                </c:pt>
                <c:pt idx="4">
                  <c:v>0.9</c:v>
                </c:pt>
              </c:numCache>
            </c:numRef>
          </c:xVal>
          <c:yVal>
            <c:numRef>
              <c:f>Sheet1!$B$9:$B$13</c:f>
              <c:numCache>
                <c:formatCode>General</c:formatCode>
                <c:ptCount val="5"/>
                <c:pt idx="0">
                  <c:v>72</c:v>
                </c:pt>
                <c:pt idx="1">
                  <c:v>70</c:v>
                </c:pt>
                <c:pt idx="2">
                  <c:v>25</c:v>
                </c:pt>
                <c:pt idx="3">
                  <c:v>20</c:v>
                </c:pt>
                <c:pt idx="4">
                  <c:v>16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B8A9-4408-8372-AB41904903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39474040"/>
        <c:axId val="347072768"/>
      </c:scatterChart>
      <c:valAx>
        <c:axId val="339474040"/>
        <c:scaling>
          <c:orientation val="minMax"/>
          <c:min val="0.65000000000000013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7" b="1" i="0" u="none" strike="noStrike" baseline="0" dirty="0" smtClean="0">
                    <a:effectLst/>
                  </a:rPr>
                  <a:t>Threshold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97" b="1" i="0" u="none" strike="noStrike" kern="1200" baseline="0">
                  <a:solidFill>
                    <a:schemeClr val="dk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7072768"/>
        <c:crosses val="autoZero"/>
        <c:crossBetween val="midCat"/>
      </c:valAx>
      <c:valAx>
        <c:axId val="347072768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Time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97" b="1" i="0" u="none" strike="noStrike" kern="1200" baseline="0">
                  <a:solidFill>
                    <a:schemeClr val="dk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9474040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legendEntry>
        <c:idx val="2"/>
        <c:delete val="1"/>
      </c:legendEntry>
      <c:legendEntry>
        <c:idx val="3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gradFill flip="none" rotWithShape="1">
      <a:gsLst>
        <a:gs pos="100000">
          <a:schemeClr val="lt1">
            <a:lumMod val="95000"/>
          </a:schemeClr>
        </a:gs>
        <a:gs pos="43000">
          <a:schemeClr val="lt1"/>
        </a:gs>
      </a:gsLst>
      <a:path path="circle">
        <a:fillToRect l="50000" t="50000" r="50000" b="50000"/>
      </a:path>
      <a:tileRect/>
    </a:gra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4">
  <cs:axisTitle>
    <cs:lnRef idx="0"/>
    <cs:fillRef idx="0"/>
    <cs:effectRef idx="0"/>
    <cs:fontRef idx="minor">
      <a:schemeClr val="dk1">
        <a:lumMod val="50000"/>
        <a:lumOff val="50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50000"/>
        <a:lumOff val="50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100000">
            <a:schemeClr val="lt1">
              <a:lumMod val="95000"/>
            </a:schemeClr>
          </a:gs>
          <a:gs pos="43000">
            <a:schemeClr val="lt1"/>
          </a:gs>
        </a:gsLst>
        <a:path path="circle">
          <a:fillToRect l="50000" t="50000" r="50000" b="50000"/>
        </a:path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50000"/>
        <a:lumOff val="50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>
        <a:solidFill>
          <a:schemeClr val="phClr">
            <a:alpha val="20000"/>
          </a:schemeClr>
        </a:solidFill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50000"/>
        <a:lumOff val="50000"/>
      </a:schemeClr>
    </cs:fontRef>
    <cs:spPr>
      <a:ln w="9525" cap="rnd">
        <a:solidFill>
          <a:schemeClr val="dk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dk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tx1"/>
    </cs:fontRef>
    <cs:spPr>
      <a:ln w="9525">
        <a:solidFill>
          <a:schemeClr val="dk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50000"/>
        <a:lumOff val="50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>
        <a:solidFill>
          <a:schemeClr val="dk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dk1">
        <a:lumMod val="50000"/>
        <a:lumOff val="50000"/>
      </a:schemeClr>
    </cs:fontRef>
    <cs:defRPr sz="2128" b="0" kern="1200" spc="70" baseline="0"/>
  </cs:title>
  <cs:trendline>
    <cs:lnRef idx="0">
      <cs:styleClr val="0"/>
    </cs:lnRef>
    <cs:fillRef idx="0"/>
    <cs:effectRef idx="0"/>
    <cs:fontRef idx="minor">
      <a:schemeClr val="tx1"/>
    </cs:fontRef>
    <cs:spPr>
      <a:ln w="63500" cap="rnd" cmpd="sng" algn="ctr">
        <a:solidFill>
          <a:schemeClr val="phClr">
            <a:alpha val="25000"/>
          </a:schemeClr>
        </a:solidFill>
        <a:round/>
      </a:ln>
    </cs:spPr>
  </cs:trendline>
  <cs:trendlineLabel>
    <cs:lnRef idx="0"/>
    <cs:fillRef idx="0"/>
    <cs:effectRef idx="0"/>
    <cs:fontRef idx="minor">
      <a:schemeClr val="dk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dk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dk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5A56B-A871-4C0D-A359-BDD0BA0387E2}" type="datetimeFigureOut">
              <a:rPr lang="en-US" smtClean="0"/>
              <a:pPr/>
              <a:t>07-May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E290DE-37B6-4F5A-A563-4EFFD5B4D2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03531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5A56B-A871-4C0D-A359-BDD0BA0387E2}" type="datetimeFigureOut">
              <a:rPr lang="en-US" smtClean="0"/>
              <a:pPr/>
              <a:t>07-May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E290DE-37B6-4F5A-A563-4EFFD5B4D2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8987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5A56B-A871-4C0D-A359-BDD0BA0387E2}" type="datetimeFigureOut">
              <a:rPr lang="en-US" smtClean="0"/>
              <a:pPr/>
              <a:t>07-May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E290DE-37B6-4F5A-A563-4EFFD5B4D2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05153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with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">
            <a:extLst>
              <a:ext uri="{FF2B5EF4-FFF2-40B4-BE49-F238E27FC236}">
                <a16:creationId xmlns:a16="http://schemas.microsoft.com/office/drawing/2014/main" id="{837F9836-5B23-424D-8C60-AC02A8512A4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80476" y="0"/>
            <a:ext cx="2211524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ZA" dirty="0"/>
              <a:t>Insert or Drag &amp; Drop your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6990" y="4346296"/>
            <a:ext cx="6798250" cy="1674470"/>
          </a:xfrm>
        </p:spPr>
        <p:txBody>
          <a:bodyPr anchor="b"/>
          <a:lstStyle>
            <a:lvl1pPr algn="r">
              <a:lnSpc>
                <a:spcPts val="5000"/>
              </a:lnSpc>
              <a:defRPr sz="6000" b="1" cap="all" spc="-3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PRESENTATION TITLE</a:t>
            </a:r>
            <a:endParaRPr lang="en-ZA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11904" y="4650539"/>
            <a:ext cx="3401478" cy="1192038"/>
          </a:xfrm>
          <a:solidFill>
            <a:schemeClr val="tx1"/>
          </a:solidFill>
        </p:spPr>
        <p:txBody>
          <a:bodyPr lIns="252000" tIns="0" anchor="ctr"/>
          <a:lstStyle>
            <a:lvl1pPr marL="0" indent="0" algn="l">
              <a:lnSpc>
                <a:spcPct val="100000"/>
              </a:lnSpc>
              <a:buNone/>
              <a:defRPr sz="1800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56F2950-BBCB-4A53-9EAC-D714777B8FA2}"/>
              </a:ext>
            </a:extLst>
          </p:cNvPr>
          <p:cNvSpPr/>
          <p:nvPr userDrawn="1"/>
        </p:nvSpPr>
        <p:spPr>
          <a:xfrm>
            <a:off x="0" y="6794309"/>
            <a:ext cx="9980476" cy="6369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5253865-24CF-4EF5-92A5-F64EB9ABC8B7}"/>
              </a:ext>
            </a:extLst>
          </p:cNvPr>
          <p:cNvSpPr/>
          <p:nvPr userDrawn="1"/>
        </p:nvSpPr>
        <p:spPr>
          <a:xfrm>
            <a:off x="0" y="0"/>
            <a:ext cx="9980476" cy="6369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E19773-9B6A-4A2C-95A5-69A3788C2D94}"/>
              </a:ext>
            </a:extLst>
          </p:cNvPr>
          <p:cNvSpPr/>
          <p:nvPr userDrawn="1"/>
        </p:nvSpPr>
        <p:spPr>
          <a:xfrm rot="5400000">
            <a:off x="-3378441" y="3410285"/>
            <a:ext cx="6826157" cy="692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1790497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74360" y="2112793"/>
            <a:ext cx="6798250" cy="1674470"/>
          </a:xfrm>
        </p:spPr>
        <p:txBody>
          <a:bodyPr anchor="ctr"/>
          <a:lstStyle>
            <a:lvl1pPr algn="ctr">
              <a:lnSpc>
                <a:spcPct val="100000"/>
              </a:lnSpc>
              <a:defRPr sz="6000" b="1" cap="all" spc="-3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Thank you</a:t>
            </a:r>
            <a:endParaRPr lang="en-ZA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56F2950-BBCB-4A53-9EAC-D714777B8FA2}"/>
              </a:ext>
            </a:extLst>
          </p:cNvPr>
          <p:cNvSpPr/>
          <p:nvPr userDrawn="1"/>
        </p:nvSpPr>
        <p:spPr>
          <a:xfrm>
            <a:off x="0" y="6794309"/>
            <a:ext cx="9980476" cy="6369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5253865-24CF-4EF5-92A5-F64EB9ABC8B7}"/>
              </a:ext>
            </a:extLst>
          </p:cNvPr>
          <p:cNvSpPr/>
          <p:nvPr userDrawn="1"/>
        </p:nvSpPr>
        <p:spPr>
          <a:xfrm>
            <a:off x="0" y="0"/>
            <a:ext cx="9980476" cy="6369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E19773-9B6A-4A2C-95A5-69A3788C2D94}"/>
              </a:ext>
            </a:extLst>
          </p:cNvPr>
          <p:cNvSpPr/>
          <p:nvPr userDrawn="1"/>
        </p:nvSpPr>
        <p:spPr>
          <a:xfrm rot="5400000">
            <a:off x="-3378441" y="3410285"/>
            <a:ext cx="6826157" cy="692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A3EFDD3-A9D2-4EB6-BB2A-F6999D9F7E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74361" y="4035727"/>
            <a:ext cx="3329850" cy="382887"/>
          </a:xfrm>
        </p:spPr>
        <p:txBody>
          <a:bodyPr/>
          <a:lstStyle>
            <a:lvl1pPr marL="0" indent="0" algn="r">
              <a:buNone/>
              <a:defRPr sz="2400"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/>
              <a:t>Full Name</a:t>
            </a:r>
            <a:endParaRPr lang="en-ZA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61ED1F7-B623-43D9-9BDA-8808C5CFAF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2268" y="4150118"/>
            <a:ext cx="2910342" cy="238016"/>
          </a:xfrm>
        </p:spPr>
        <p:txBody>
          <a:bodyPr/>
          <a:lstStyle>
            <a:lvl1pPr marL="0" indent="0" algn="l">
              <a:buNone/>
              <a:defRPr sz="1400" i="1"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/>
              <a:t>Phone Number</a:t>
            </a:r>
            <a:endParaRPr lang="en-ZA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E27366FC-4115-4122-9CE2-5FA9D424AD5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62268" y="4540691"/>
            <a:ext cx="2910342" cy="238016"/>
          </a:xfrm>
        </p:spPr>
        <p:txBody>
          <a:bodyPr/>
          <a:lstStyle>
            <a:lvl1pPr marL="0" indent="0" algn="l">
              <a:buNone/>
              <a:defRPr sz="1400" i="1"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/>
              <a:t>Email or Social Media Handle</a:t>
            </a:r>
            <a:endParaRPr lang="en-ZA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EB36829-2F8B-4E22-AB6D-4111D18AF8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62268" y="4931263"/>
            <a:ext cx="2910342" cy="238016"/>
          </a:xfrm>
        </p:spPr>
        <p:txBody>
          <a:bodyPr/>
          <a:lstStyle>
            <a:lvl1pPr marL="0" indent="0" algn="l">
              <a:buNone/>
              <a:defRPr sz="1400" i="1"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/>
              <a:t>Company Websit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7682776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97A4C-FC7A-4A2E-AC8F-DD73066D9776}" type="datetimeFigureOut">
              <a:rPr lang="en-GB" smtClean="0"/>
              <a:pPr/>
              <a:t>07/05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5AB505-F4E8-4EF5-BA15-94F6E7C9E04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03508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97A4C-FC7A-4A2E-AC8F-DD73066D9776}" type="datetimeFigureOut">
              <a:rPr lang="en-GB" smtClean="0"/>
              <a:pPr/>
              <a:t>07/05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5AB505-F4E8-4EF5-BA15-94F6E7C9E04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3498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97A4C-FC7A-4A2E-AC8F-DD73066D9776}" type="datetimeFigureOut">
              <a:rPr lang="en-GB" smtClean="0"/>
              <a:pPr/>
              <a:t>07/05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5AB505-F4E8-4EF5-BA15-94F6E7C9E04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97264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97A4C-FC7A-4A2E-AC8F-DD73066D9776}" type="datetimeFigureOut">
              <a:rPr lang="en-GB" smtClean="0"/>
              <a:pPr/>
              <a:t>07/05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5AB505-F4E8-4EF5-BA15-94F6E7C9E04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36750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97A4C-FC7A-4A2E-AC8F-DD73066D9776}" type="datetimeFigureOut">
              <a:rPr lang="en-GB" smtClean="0"/>
              <a:pPr/>
              <a:t>07/05/2019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5AB505-F4E8-4EF5-BA15-94F6E7C9E04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54682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97A4C-FC7A-4A2E-AC8F-DD73066D9776}" type="datetimeFigureOut">
              <a:rPr lang="en-GB" smtClean="0"/>
              <a:pPr/>
              <a:t>07/05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5AB505-F4E8-4EF5-BA15-94F6E7C9E04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8468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5A56B-A871-4C0D-A359-BDD0BA0387E2}" type="datetimeFigureOut">
              <a:rPr lang="en-US" smtClean="0"/>
              <a:pPr/>
              <a:t>07-May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E290DE-37B6-4F5A-A563-4EFFD5B4D2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88458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97A4C-FC7A-4A2E-AC8F-DD73066D9776}" type="datetimeFigureOut">
              <a:rPr lang="en-GB" smtClean="0"/>
              <a:pPr/>
              <a:t>07/05/2019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5AB505-F4E8-4EF5-BA15-94F6E7C9E04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61328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97A4C-FC7A-4A2E-AC8F-DD73066D9776}" type="datetimeFigureOut">
              <a:rPr lang="en-GB" smtClean="0"/>
              <a:pPr/>
              <a:t>07/05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5AB505-F4E8-4EF5-BA15-94F6E7C9E04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90400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97A4C-FC7A-4A2E-AC8F-DD73066D9776}" type="datetimeFigureOut">
              <a:rPr lang="en-GB" smtClean="0"/>
              <a:pPr/>
              <a:t>07/05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5AB505-F4E8-4EF5-BA15-94F6E7C9E04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44970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97A4C-FC7A-4A2E-AC8F-DD73066D9776}" type="datetimeFigureOut">
              <a:rPr lang="en-GB" smtClean="0"/>
              <a:pPr/>
              <a:t>07/05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5AB505-F4E8-4EF5-BA15-94F6E7C9E04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93545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97A4C-FC7A-4A2E-AC8F-DD73066D9776}" type="datetimeFigureOut">
              <a:rPr lang="en-GB" smtClean="0"/>
              <a:pPr/>
              <a:t>07/05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5AB505-F4E8-4EF5-BA15-94F6E7C9E04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96846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封面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任意形状 8"/>
          <p:cNvSpPr/>
          <p:nvPr userDrawn="1"/>
        </p:nvSpPr>
        <p:spPr>
          <a:xfrm rot="5400000">
            <a:off x="7443132" y="2385874"/>
            <a:ext cx="6858003" cy="2086245"/>
          </a:xfrm>
          <a:custGeom>
            <a:avLst/>
            <a:gdLst>
              <a:gd name="connsiteX0" fmla="*/ 0 w 5357262"/>
              <a:gd name="connsiteY0" fmla="*/ 1564684 h 1564684"/>
              <a:gd name="connsiteX1" fmla="*/ 0 w 5357262"/>
              <a:gd name="connsiteY1" fmla="*/ 478242 h 1564684"/>
              <a:gd name="connsiteX2" fmla="*/ 2566300 w 5357262"/>
              <a:gd name="connsiteY2" fmla="*/ 478242 h 1564684"/>
              <a:gd name="connsiteX3" fmla="*/ 2566300 w 5357262"/>
              <a:gd name="connsiteY3" fmla="*/ 151550 h 1564684"/>
              <a:gd name="connsiteX4" fmla="*/ 2717850 w 5357262"/>
              <a:gd name="connsiteY4" fmla="*/ 0 h 1564684"/>
              <a:gd name="connsiteX5" fmla="*/ 4668518 w 5357262"/>
              <a:gd name="connsiteY5" fmla="*/ 0 h 1564684"/>
              <a:gd name="connsiteX6" fmla="*/ 4820068 w 5357262"/>
              <a:gd name="connsiteY6" fmla="*/ 151550 h 1564684"/>
              <a:gd name="connsiteX7" fmla="*/ 4820068 w 5357262"/>
              <a:gd name="connsiteY7" fmla="*/ 478242 h 1564684"/>
              <a:gd name="connsiteX8" fmla="*/ 5357262 w 5357262"/>
              <a:gd name="connsiteY8" fmla="*/ 478242 h 1564684"/>
              <a:gd name="connsiteX9" fmla="*/ 5357262 w 5357262"/>
              <a:gd name="connsiteY9" fmla="*/ 1564684 h 1564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357262" h="1564684">
                <a:moveTo>
                  <a:pt x="0" y="1564684"/>
                </a:moveTo>
                <a:lnTo>
                  <a:pt x="0" y="478242"/>
                </a:lnTo>
                <a:lnTo>
                  <a:pt x="2566300" y="478242"/>
                </a:lnTo>
                <a:lnTo>
                  <a:pt x="2566300" y="151550"/>
                </a:lnTo>
                <a:cubicBezTo>
                  <a:pt x="2566300" y="67851"/>
                  <a:pt x="2634151" y="0"/>
                  <a:pt x="2717850" y="0"/>
                </a:cubicBezTo>
                <a:lnTo>
                  <a:pt x="4668518" y="0"/>
                </a:lnTo>
                <a:cubicBezTo>
                  <a:pt x="4752217" y="0"/>
                  <a:pt x="4820068" y="67851"/>
                  <a:pt x="4820068" y="151550"/>
                </a:cubicBezTo>
                <a:lnTo>
                  <a:pt x="4820068" y="478242"/>
                </a:lnTo>
                <a:lnTo>
                  <a:pt x="5357262" y="478242"/>
                </a:lnTo>
                <a:lnTo>
                  <a:pt x="5357262" y="156468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0800" dist="762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sz="2400"/>
          </a:p>
        </p:txBody>
      </p:sp>
      <p:sp>
        <p:nvSpPr>
          <p:cNvPr id="10" name="任意形状 9"/>
          <p:cNvSpPr/>
          <p:nvPr userDrawn="1"/>
        </p:nvSpPr>
        <p:spPr>
          <a:xfrm>
            <a:off x="8380425" y="-1"/>
            <a:ext cx="2099743" cy="6858000"/>
          </a:xfrm>
          <a:custGeom>
            <a:avLst/>
            <a:gdLst>
              <a:gd name="connsiteX0" fmla="*/ 0 w 1574807"/>
              <a:gd name="connsiteY0" fmla="*/ 0 h 5357260"/>
              <a:gd name="connsiteX1" fmla="*/ 1086440 w 1574807"/>
              <a:gd name="connsiteY1" fmla="*/ 0 h 5357260"/>
              <a:gd name="connsiteX2" fmla="*/ 1086440 w 1574807"/>
              <a:gd name="connsiteY2" fmla="*/ 1883125 h 5357260"/>
              <a:gd name="connsiteX3" fmla="*/ 1423257 w 1574807"/>
              <a:gd name="connsiteY3" fmla="*/ 1883125 h 5357260"/>
              <a:gd name="connsiteX4" fmla="*/ 1574807 w 1574807"/>
              <a:gd name="connsiteY4" fmla="*/ 2034675 h 5357260"/>
              <a:gd name="connsiteX5" fmla="*/ 1574807 w 1574807"/>
              <a:gd name="connsiteY5" fmla="*/ 3985343 h 5357260"/>
              <a:gd name="connsiteX6" fmla="*/ 1423257 w 1574807"/>
              <a:gd name="connsiteY6" fmla="*/ 4136893 h 5357260"/>
              <a:gd name="connsiteX7" fmla="*/ 1086440 w 1574807"/>
              <a:gd name="connsiteY7" fmla="*/ 4136893 h 5357260"/>
              <a:gd name="connsiteX8" fmla="*/ 1086440 w 1574807"/>
              <a:gd name="connsiteY8" fmla="*/ 5357260 h 5357260"/>
              <a:gd name="connsiteX9" fmla="*/ 0 w 1574807"/>
              <a:gd name="connsiteY9" fmla="*/ 5357260 h 535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4807" h="5357260">
                <a:moveTo>
                  <a:pt x="0" y="0"/>
                </a:moveTo>
                <a:lnTo>
                  <a:pt x="1086440" y="0"/>
                </a:lnTo>
                <a:lnTo>
                  <a:pt x="1086440" y="1883125"/>
                </a:lnTo>
                <a:lnTo>
                  <a:pt x="1423257" y="1883125"/>
                </a:lnTo>
                <a:cubicBezTo>
                  <a:pt x="1506956" y="1883125"/>
                  <a:pt x="1574807" y="1950976"/>
                  <a:pt x="1574807" y="2034675"/>
                </a:cubicBezTo>
                <a:lnTo>
                  <a:pt x="1574807" y="3985343"/>
                </a:lnTo>
                <a:cubicBezTo>
                  <a:pt x="1574807" y="4069042"/>
                  <a:pt x="1506956" y="4136893"/>
                  <a:pt x="1423257" y="4136893"/>
                </a:cubicBezTo>
                <a:lnTo>
                  <a:pt x="1086440" y="4136893"/>
                </a:lnTo>
                <a:lnTo>
                  <a:pt x="1086440" y="5357260"/>
                </a:lnTo>
                <a:lnTo>
                  <a:pt x="0" y="53572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outerShdw blurRad="50800" dist="762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11" name="任意形状 10"/>
          <p:cNvSpPr/>
          <p:nvPr userDrawn="1"/>
        </p:nvSpPr>
        <p:spPr>
          <a:xfrm>
            <a:off x="6931838" y="-3"/>
            <a:ext cx="2132585" cy="6858000"/>
          </a:xfrm>
          <a:custGeom>
            <a:avLst/>
            <a:gdLst>
              <a:gd name="connsiteX0" fmla="*/ 0 w 1599439"/>
              <a:gd name="connsiteY0" fmla="*/ 0 h 5357260"/>
              <a:gd name="connsiteX1" fmla="*/ 1086440 w 1599439"/>
              <a:gd name="connsiteY1" fmla="*/ 0 h 5357260"/>
              <a:gd name="connsiteX2" fmla="*/ 1086440 w 1599439"/>
              <a:gd name="connsiteY2" fmla="*/ 1199954 h 5357260"/>
              <a:gd name="connsiteX3" fmla="*/ 1447889 w 1599439"/>
              <a:gd name="connsiteY3" fmla="*/ 1199954 h 5357260"/>
              <a:gd name="connsiteX4" fmla="*/ 1599439 w 1599439"/>
              <a:gd name="connsiteY4" fmla="*/ 1351504 h 5357260"/>
              <a:gd name="connsiteX5" fmla="*/ 1599439 w 1599439"/>
              <a:gd name="connsiteY5" fmla="*/ 3302172 h 5357260"/>
              <a:gd name="connsiteX6" fmla="*/ 1447889 w 1599439"/>
              <a:gd name="connsiteY6" fmla="*/ 3453722 h 5357260"/>
              <a:gd name="connsiteX7" fmla="*/ 1086440 w 1599439"/>
              <a:gd name="connsiteY7" fmla="*/ 3453722 h 5357260"/>
              <a:gd name="connsiteX8" fmla="*/ 1086440 w 1599439"/>
              <a:gd name="connsiteY8" fmla="*/ 5357260 h 5357260"/>
              <a:gd name="connsiteX9" fmla="*/ 0 w 1599439"/>
              <a:gd name="connsiteY9" fmla="*/ 5357260 h 535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99439" h="5357260">
                <a:moveTo>
                  <a:pt x="0" y="0"/>
                </a:moveTo>
                <a:lnTo>
                  <a:pt x="1086440" y="0"/>
                </a:lnTo>
                <a:lnTo>
                  <a:pt x="1086440" y="1199954"/>
                </a:lnTo>
                <a:lnTo>
                  <a:pt x="1447889" y="1199954"/>
                </a:lnTo>
                <a:cubicBezTo>
                  <a:pt x="1531588" y="1199954"/>
                  <a:pt x="1599439" y="1267805"/>
                  <a:pt x="1599439" y="1351504"/>
                </a:cubicBezTo>
                <a:lnTo>
                  <a:pt x="1599439" y="3302172"/>
                </a:lnTo>
                <a:cubicBezTo>
                  <a:pt x="1599439" y="3385871"/>
                  <a:pt x="1531588" y="3453722"/>
                  <a:pt x="1447889" y="3453722"/>
                </a:cubicBezTo>
                <a:lnTo>
                  <a:pt x="1086440" y="3453722"/>
                </a:lnTo>
                <a:lnTo>
                  <a:pt x="1086440" y="5357260"/>
                </a:lnTo>
                <a:lnTo>
                  <a:pt x="0" y="53572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0800" dist="762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12" name="任意形状 11"/>
          <p:cNvSpPr/>
          <p:nvPr userDrawn="1"/>
        </p:nvSpPr>
        <p:spPr>
          <a:xfrm>
            <a:off x="-3" y="0"/>
            <a:ext cx="7672555" cy="6858000"/>
          </a:xfrm>
          <a:custGeom>
            <a:avLst/>
            <a:gdLst>
              <a:gd name="connsiteX0" fmla="*/ 0 w 5754416"/>
              <a:gd name="connsiteY0" fmla="*/ 0 h 5357260"/>
              <a:gd name="connsiteX1" fmla="*/ 5198880 w 5754416"/>
              <a:gd name="connsiteY1" fmla="*/ 0 h 5357260"/>
              <a:gd name="connsiteX2" fmla="*/ 5198880 w 5754416"/>
              <a:gd name="connsiteY2" fmla="*/ 516780 h 5357260"/>
              <a:gd name="connsiteX3" fmla="*/ 5602866 w 5754416"/>
              <a:gd name="connsiteY3" fmla="*/ 516780 h 5357260"/>
              <a:gd name="connsiteX4" fmla="*/ 5754416 w 5754416"/>
              <a:gd name="connsiteY4" fmla="*/ 668330 h 5357260"/>
              <a:gd name="connsiteX5" fmla="*/ 5754416 w 5754416"/>
              <a:gd name="connsiteY5" fmla="*/ 2618998 h 5357260"/>
              <a:gd name="connsiteX6" fmla="*/ 5602866 w 5754416"/>
              <a:gd name="connsiteY6" fmla="*/ 2770548 h 5357260"/>
              <a:gd name="connsiteX7" fmla="*/ 5198880 w 5754416"/>
              <a:gd name="connsiteY7" fmla="*/ 2770548 h 5357260"/>
              <a:gd name="connsiteX8" fmla="*/ 5198880 w 5754416"/>
              <a:gd name="connsiteY8" fmla="*/ 5357260 h 5357260"/>
              <a:gd name="connsiteX9" fmla="*/ 0 w 5754416"/>
              <a:gd name="connsiteY9" fmla="*/ 5357260 h 535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754416" h="5357260">
                <a:moveTo>
                  <a:pt x="0" y="0"/>
                </a:moveTo>
                <a:lnTo>
                  <a:pt x="5198880" y="0"/>
                </a:lnTo>
                <a:lnTo>
                  <a:pt x="5198880" y="516780"/>
                </a:lnTo>
                <a:lnTo>
                  <a:pt x="5602866" y="516780"/>
                </a:lnTo>
                <a:cubicBezTo>
                  <a:pt x="5686565" y="516780"/>
                  <a:pt x="5754416" y="584631"/>
                  <a:pt x="5754416" y="668330"/>
                </a:cubicBezTo>
                <a:lnTo>
                  <a:pt x="5754416" y="2618998"/>
                </a:lnTo>
                <a:cubicBezTo>
                  <a:pt x="5754416" y="2702697"/>
                  <a:pt x="5686565" y="2770548"/>
                  <a:pt x="5602866" y="2770548"/>
                </a:cubicBezTo>
                <a:lnTo>
                  <a:pt x="5198880" y="2770548"/>
                </a:lnTo>
                <a:lnTo>
                  <a:pt x="5198880" y="5357260"/>
                </a:lnTo>
                <a:lnTo>
                  <a:pt x="0" y="53572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outerShdw blurRad="50800" dist="762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14" name="竖排文本占位符 13"/>
          <p:cNvSpPr>
            <a:spLocks noGrp="1"/>
          </p:cNvSpPr>
          <p:nvPr>
            <p:ph type="body" orient="vert" sz="quarter" idx="10" hasCustomPrompt="1"/>
          </p:nvPr>
        </p:nvSpPr>
        <p:spPr>
          <a:xfrm>
            <a:off x="7000517" y="1291590"/>
            <a:ext cx="602968" cy="2171700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b="0" baseline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defRPr>
            </a:lvl1pPr>
          </a:lstStyle>
          <a:p>
            <a:pPr lvl="0"/>
            <a:r>
              <a:rPr kumimoji="1" lang="zh-CN" altLang="en-US"/>
              <a:t>添加</a:t>
            </a:r>
            <a:r>
              <a:rPr kumimoji="1" lang="zh-CN" altLang="en-US" dirty="0"/>
              <a:t>标题</a:t>
            </a:r>
          </a:p>
        </p:txBody>
      </p:sp>
      <p:sp>
        <p:nvSpPr>
          <p:cNvPr id="16" name="竖排文本占位符 15"/>
          <p:cNvSpPr>
            <a:spLocks noGrp="1"/>
          </p:cNvSpPr>
          <p:nvPr>
            <p:ph type="body" orient="vert" sz="quarter" idx="11" hasCustomPrompt="1"/>
          </p:nvPr>
        </p:nvSpPr>
        <p:spPr>
          <a:xfrm>
            <a:off x="7003728" y="753740"/>
            <a:ext cx="600147" cy="537847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dirty="0"/>
              <a:t>01</a:t>
            </a:r>
            <a:endParaRPr kumimoji="1" lang="zh-CN" altLang="en-US" dirty="0"/>
          </a:p>
        </p:txBody>
      </p:sp>
      <p:sp>
        <p:nvSpPr>
          <p:cNvPr id="17" name="竖排文本占位符 13"/>
          <p:cNvSpPr>
            <a:spLocks noGrp="1"/>
          </p:cNvSpPr>
          <p:nvPr>
            <p:ph type="body" orient="vert" sz="quarter" idx="12" hasCustomPrompt="1"/>
          </p:nvPr>
        </p:nvSpPr>
        <p:spPr>
          <a:xfrm>
            <a:off x="8390712" y="2186940"/>
            <a:ext cx="602968" cy="2171700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b="0" baseline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defRPr>
            </a:lvl1pPr>
          </a:lstStyle>
          <a:p>
            <a:pPr lvl="0"/>
            <a:r>
              <a:rPr kumimoji="1" lang="zh-CN" altLang="en-US"/>
              <a:t>添加</a:t>
            </a:r>
            <a:r>
              <a:rPr kumimoji="1" lang="zh-CN" altLang="en-US" dirty="0"/>
              <a:t>标题</a:t>
            </a:r>
          </a:p>
        </p:txBody>
      </p:sp>
      <p:sp>
        <p:nvSpPr>
          <p:cNvPr id="18" name="竖排文本占位符 15"/>
          <p:cNvSpPr>
            <a:spLocks noGrp="1"/>
          </p:cNvSpPr>
          <p:nvPr>
            <p:ph type="body" orient="vert" sz="quarter" idx="13" hasCustomPrompt="1"/>
          </p:nvPr>
        </p:nvSpPr>
        <p:spPr>
          <a:xfrm>
            <a:off x="8393923" y="1649090"/>
            <a:ext cx="600147" cy="537847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dirty="0"/>
              <a:t>02</a:t>
            </a:r>
            <a:endParaRPr kumimoji="1" lang="zh-CN" altLang="en-US" dirty="0"/>
          </a:p>
        </p:txBody>
      </p:sp>
      <p:sp>
        <p:nvSpPr>
          <p:cNvPr id="19" name="竖排文本占位符 13"/>
          <p:cNvSpPr>
            <a:spLocks noGrp="1"/>
          </p:cNvSpPr>
          <p:nvPr>
            <p:ph type="body" orient="vert" sz="quarter" idx="14" hasCustomPrompt="1"/>
          </p:nvPr>
        </p:nvSpPr>
        <p:spPr>
          <a:xfrm>
            <a:off x="9794635" y="3060070"/>
            <a:ext cx="602968" cy="2171700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b="0" baseline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defRPr>
            </a:lvl1pPr>
          </a:lstStyle>
          <a:p>
            <a:pPr lvl="0"/>
            <a:r>
              <a:rPr kumimoji="1" lang="zh-CN" altLang="en-US"/>
              <a:t>添加</a:t>
            </a:r>
            <a:r>
              <a:rPr kumimoji="1" lang="zh-CN" altLang="en-US" dirty="0"/>
              <a:t>标题</a:t>
            </a:r>
          </a:p>
        </p:txBody>
      </p:sp>
      <p:sp>
        <p:nvSpPr>
          <p:cNvPr id="20" name="竖排文本占位符 15"/>
          <p:cNvSpPr>
            <a:spLocks noGrp="1"/>
          </p:cNvSpPr>
          <p:nvPr>
            <p:ph type="body" orient="vert" sz="quarter" idx="15" hasCustomPrompt="1"/>
          </p:nvPr>
        </p:nvSpPr>
        <p:spPr>
          <a:xfrm>
            <a:off x="9797846" y="2522220"/>
            <a:ext cx="600147" cy="537847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dirty="0"/>
              <a:t>03</a:t>
            </a:r>
            <a:endParaRPr kumimoji="1" lang="zh-CN" altLang="en-US" dirty="0"/>
          </a:p>
        </p:txBody>
      </p:sp>
      <p:sp>
        <p:nvSpPr>
          <p:cNvPr id="21" name="竖排文本占位符 13"/>
          <p:cNvSpPr>
            <a:spLocks noGrp="1"/>
          </p:cNvSpPr>
          <p:nvPr>
            <p:ph type="body" orient="vert" sz="quarter" idx="16" hasCustomPrompt="1"/>
          </p:nvPr>
        </p:nvSpPr>
        <p:spPr>
          <a:xfrm>
            <a:off x="11230550" y="3932560"/>
            <a:ext cx="602968" cy="2171700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b="0" baseline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defRPr>
            </a:lvl1pPr>
          </a:lstStyle>
          <a:p>
            <a:pPr lvl="0"/>
            <a:r>
              <a:rPr kumimoji="1" lang="zh-CN" altLang="en-US"/>
              <a:t>添加</a:t>
            </a:r>
            <a:r>
              <a:rPr kumimoji="1" lang="zh-CN" altLang="en-US" dirty="0"/>
              <a:t>标题</a:t>
            </a:r>
          </a:p>
        </p:txBody>
      </p:sp>
      <p:sp>
        <p:nvSpPr>
          <p:cNvPr id="22" name="竖排文本占位符 15"/>
          <p:cNvSpPr>
            <a:spLocks noGrp="1"/>
          </p:cNvSpPr>
          <p:nvPr>
            <p:ph type="body" orient="vert" sz="quarter" idx="17" hasCustomPrompt="1"/>
          </p:nvPr>
        </p:nvSpPr>
        <p:spPr>
          <a:xfrm>
            <a:off x="11233761" y="3394710"/>
            <a:ext cx="600147" cy="537847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dirty="0"/>
              <a:t>04</a:t>
            </a:r>
            <a:endParaRPr kumimoji="1" lang="zh-CN" altLang="en-US" dirty="0"/>
          </a:p>
        </p:txBody>
      </p:sp>
      <p:sp>
        <p:nvSpPr>
          <p:cNvPr id="24" name="文本占位符 23"/>
          <p:cNvSpPr>
            <a:spLocks noGrp="1"/>
          </p:cNvSpPr>
          <p:nvPr>
            <p:ph type="body" sz="quarter" idx="18" hasCustomPrompt="1"/>
          </p:nvPr>
        </p:nvSpPr>
        <p:spPr>
          <a:xfrm>
            <a:off x="677720" y="3663633"/>
            <a:ext cx="5845998" cy="2022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600" b="1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defRPr>
            </a:lvl1pPr>
          </a:lstStyle>
          <a:p>
            <a:pPr lvl="0"/>
            <a:r>
              <a:rPr kumimoji="1" lang="zh-CN" altLang="en-US"/>
              <a:t>点击此处</a:t>
            </a:r>
          </a:p>
          <a:p>
            <a:pPr lvl="0"/>
            <a:r>
              <a:rPr kumimoji="1" lang="zh-CN" altLang="en-US" dirty="0"/>
              <a:t>添加标题</a:t>
            </a:r>
          </a:p>
        </p:txBody>
      </p:sp>
      <p:sp>
        <p:nvSpPr>
          <p:cNvPr id="25" name="文本占位符 23"/>
          <p:cNvSpPr>
            <a:spLocks noGrp="1"/>
          </p:cNvSpPr>
          <p:nvPr>
            <p:ph type="body" sz="quarter" idx="19" hasCustomPrompt="1"/>
          </p:nvPr>
        </p:nvSpPr>
        <p:spPr>
          <a:xfrm>
            <a:off x="677720" y="5826919"/>
            <a:ext cx="5845998" cy="3681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 baseline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lvl="0"/>
            <a:r>
              <a:rPr kumimoji="1" lang="en-US" altLang="zh-CN" dirty="0"/>
              <a:t>PRESENTED</a:t>
            </a:r>
            <a:r>
              <a:rPr kumimoji="1" lang="zh-CN" altLang="en-US" dirty="0"/>
              <a:t> </a:t>
            </a:r>
            <a:r>
              <a:rPr kumimoji="1" lang="en-US" altLang="zh-CN" dirty="0"/>
              <a:t>BY</a:t>
            </a:r>
            <a:r>
              <a:rPr kumimoji="1" lang="zh-CN" altLang="en-US" dirty="0"/>
              <a:t> </a:t>
            </a:r>
            <a:r>
              <a:rPr kumimoji="1" lang="en-US" altLang="zh-CN" dirty="0"/>
              <a:t>OfficePLUS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233097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内容页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任意形状 1"/>
          <p:cNvSpPr/>
          <p:nvPr userDrawn="1"/>
        </p:nvSpPr>
        <p:spPr>
          <a:xfrm>
            <a:off x="1" y="0"/>
            <a:ext cx="11812159" cy="6858000"/>
          </a:xfrm>
          <a:custGeom>
            <a:avLst/>
            <a:gdLst>
              <a:gd name="connsiteX0" fmla="*/ 0 w 9231260"/>
              <a:gd name="connsiteY0" fmla="*/ 0 h 5357260"/>
              <a:gd name="connsiteX1" fmla="*/ 3476844 w 9231260"/>
              <a:gd name="connsiteY1" fmla="*/ 0 h 5357260"/>
              <a:gd name="connsiteX2" fmla="*/ 4699591 w 9231260"/>
              <a:gd name="connsiteY2" fmla="*/ 0 h 5357260"/>
              <a:gd name="connsiteX3" fmla="*/ 8675724 w 9231260"/>
              <a:gd name="connsiteY3" fmla="*/ 0 h 5357260"/>
              <a:gd name="connsiteX4" fmla="*/ 8675724 w 9231260"/>
              <a:gd name="connsiteY4" fmla="*/ 516780 h 5357260"/>
              <a:gd name="connsiteX5" fmla="*/ 9079710 w 9231260"/>
              <a:gd name="connsiteY5" fmla="*/ 516780 h 5357260"/>
              <a:gd name="connsiteX6" fmla="*/ 9231260 w 9231260"/>
              <a:gd name="connsiteY6" fmla="*/ 668330 h 5357260"/>
              <a:gd name="connsiteX7" fmla="*/ 9231260 w 9231260"/>
              <a:gd name="connsiteY7" fmla="*/ 2618998 h 5357260"/>
              <a:gd name="connsiteX8" fmla="*/ 9079710 w 9231260"/>
              <a:gd name="connsiteY8" fmla="*/ 2770548 h 5357260"/>
              <a:gd name="connsiteX9" fmla="*/ 8675724 w 9231260"/>
              <a:gd name="connsiteY9" fmla="*/ 2770548 h 5357260"/>
              <a:gd name="connsiteX10" fmla="*/ 8675724 w 9231260"/>
              <a:gd name="connsiteY10" fmla="*/ 5357260 h 5357260"/>
              <a:gd name="connsiteX11" fmla="*/ 4699591 w 9231260"/>
              <a:gd name="connsiteY11" fmla="*/ 5357260 h 5357260"/>
              <a:gd name="connsiteX12" fmla="*/ 3476844 w 9231260"/>
              <a:gd name="connsiteY12" fmla="*/ 5357260 h 5357260"/>
              <a:gd name="connsiteX13" fmla="*/ 0 w 9231260"/>
              <a:gd name="connsiteY13" fmla="*/ 5357260 h 535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231260" h="5357260">
                <a:moveTo>
                  <a:pt x="0" y="0"/>
                </a:moveTo>
                <a:lnTo>
                  <a:pt x="3476844" y="0"/>
                </a:lnTo>
                <a:lnTo>
                  <a:pt x="4699591" y="0"/>
                </a:lnTo>
                <a:lnTo>
                  <a:pt x="8675724" y="0"/>
                </a:lnTo>
                <a:lnTo>
                  <a:pt x="8675724" y="516780"/>
                </a:lnTo>
                <a:lnTo>
                  <a:pt x="9079710" y="516780"/>
                </a:lnTo>
                <a:cubicBezTo>
                  <a:pt x="9163409" y="516780"/>
                  <a:pt x="9231260" y="584631"/>
                  <a:pt x="9231260" y="668330"/>
                </a:cubicBezTo>
                <a:lnTo>
                  <a:pt x="9231260" y="2618998"/>
                </a:lnTo>
                <a:cubicBezTo>
                  <a:pt x="9231260" y="2702697"/>
                  <a:pt x="9163409" y="2770548"/>
                  <a:pt x="9079710" y="2770548"/>
                </a:cubicBezTo>
                <a:lnTo>
                  <a:pt x="8675724" y="2770548"/>
                </a:lnTo>
                <a:lnTo>
                  <a:pt x="8675724" y="5357260"/>
                </a:lnTo>
                <a:lnTo>
                  <a:pt x="4699591" y="5357260"/>
                </a:lnTo>
                <a:lnTo>
                  <a:pt x="3476844" y="5357260"/>
                </a:lnTo>
                <a:lnTo>
                  <a:pt x="0" y="53572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outerShdw blurRad="50800" dist="762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3" name="竖排文本占位符 13"/>
          <p:cNvSpPr>
            <a:spLocks noGrp="1"/>
          </p:cNvSpPr>
          <p:nvPr>
            <p:ph type="body" orient="vert" sz="quarter" idx="10" hasCustomPrompt="1"/>
          </p:nvPr>
        </p:nvSpPr>
        <p:spPr>
          <a:xfrm>
            <a:off x="11115317" y="1337310"/>
            <a:ext cx="602968" cy="2171700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b="0" baseline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defRPr>
            </a:lvl1pPr>
          </a:lstStyle>
          <a:p>
            <a:pPr lvl="0"/>
            <a:r>
              <a:rPr kumimoji="1" lang="zh-CN" altLang="en-US"/>
              <a:t>添加</a:t>
            </a:r>
            <a:r>
              <a:rPr kumimoji="1" lang="zh-CN" altLang="en-US" dirty="0"/>
              <a:t>标题</a:t>
            </a:r>
          </a:p>
        </p:txBody>
      </p:sp>
      <p:sp>
        <p:nvSpPr>
          <p:cNvPr id="4" name="竖排文本占位符 15"/>
          <p:cNvSpPr>
            <a:spLocks noGrp="1"/>
          </p:cNvSpPr>
          <p:nvPr>
            <p:ph type="body" orient="vert" sz="quarter" idx="11" hasCustomPrompt="1"/>
          </p:nvPr>
        </p:nvSpPr>
        <p:spPr>
          <a:xfrm>
            <a:off x="11118528" y="799460"/>
            <a:ext cx="600147" cy="537847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/>
              <a:t>01</a:t>
            </a:r>
            <a:endParaRPr kumimoji="1"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2" hasCustomPrompt="1"/>
          </p:nvPr>
        </p:nvSpPr>
        <p:spPr>
          <a:xfrm>
            <a:off x="308928" y="240031"/>
            <a:ext cx="3943032" cy="35433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dirty="0"/>
              <a:t>CLICK</a:t>
            </a:r>
            <a:r>
              <a:rPr kumimoji="1" lang="zh-CN" altLang="en-US" dirty="0"/>
              <a:t> </a:t>
            </a:r>
            <a:r>
              <a:rPr kumimoji="1" lang="en-US" altLang="zh-CN" dirty="0"/>
              <a:t>HERE</a:t>
            </a:r>
            <a:r>
              <a:rPr kumimoji="1" lang="zh-CN" altLang="en-US" dirty="0"/>
              <a:t> </a:t>
            </a:r>
            <a:r>
              <a:rPr kumimoji="1" lang="en-US" altLang="zh-CN" dirty="0"/>
              <a:t>TO</a:t>
            </a:r>
            <a:r>
              <a:rPr kumimoji="1" lang="zh-CN" altLang="en-US" dirty="0"/>
              <a:t> </a:t>
            </a:r>
            <a:r>
              <a:rPr kumimoji="1" lang="en-US" altLang="zh-CN" dirty="0"/>
              <a:t>ADD</a:t>
            </a:r>
            <a:r>
              <a:rPr kumimoji="1" lang="zh-CN" altLang="en-US" dirty="0"/>
              <a:t> </a:t>
            </a:r>
            <a:r>
              <a:rPr kumimoji="1" lang="en-US" altLang="zh-CN" dirty="0"/>
              <a:t>YOUR</a:t>
            </a:r>
            <a:r>
              <a:rPr kumimoji="1" lang="zh-CN" altLang="en-US" dirty="0"/>
              <a:t> </a:t>
            </a:r>
            <a:r>
              <a:rPr kumimoji="1" lang="en-US" altLang="zh-CN" dirty="0"/>
              <a:t>TITLE</a:t>
            </a:r>
            <a:endParaRPr kumimoji="1" lang="zh-CN" altLang="en-US" dirty="0"/>
          </a:p>
        </p:txBody>
      </p:sp>
      <p:sp>
        <p:nvSpPr>
          <p:cNvPr id="7" name="文本占位符 5"/>
          <p:cNvSpPr>
            <a:spLocks noGrp="1"/>
          </p:cNvSpPr>
          <p:nvPr>
            <p:ph type="body" sz="quarter" idx="13" hasCustomPrompt="1"/>
          </p:nvPr>
        </p:nvSpPr>
        <p:spPr>
          <a:xfrm>
            <a:off x="308928" y="594361"/>
            <a:ext cx="3943032" cy="35433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000" b="1" baseline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defRPr>
            </a:lvl1pPr>
          </a:lstStyle>
          <a:p>
            <a:pPr lvl="0"/>
            <a:r>
              <a:rPr kumimoji="1" lang="zh-CN" altLang="en-US" dirty="0"/>
              <a:t>点击</a:t>
            </a:r>
            <a:r>
              <a:rPr kumimoji="1" lang="zh-CN" altLang="en-US"/>
              <a:t>此处添加标题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579836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内容页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任意形状 1"/>
          <p:cNvSpPr/>
          <p:nvPr userDrawn="1"/>
        </p:nvSpPr>
        <p:spPr>
          <a:xfrm>
            <a:off x="1" y="0"/>
            <a:ext cx="11812159" cy="6858000"/>
          </a:xfrm>
          <a:custGeom>
            <a:avLst/>
            <a:gdLst>
              <a:gd name="connsiteX0" fmla="*/ 0 w 9231260"/>
              <a:gd name="connsiteY0" fmla="*/ 0 h 5357260"/>
              <a:gd name="connsiteX1" fmla="*/ 3476844 w 9231260"/>
              <a:gd name="connsiteY1" fmla="*/ 0 h 5357260"/>
              <a:gd name="connsiteX2" fmla="*/ 4699591 w 9231260"/>
              <a:gd name="connsiteY2" fmla="*/ 0 h 5357260"/>
              <a:gd name="connsiteX3" fmla="*/ 8675724 w 9231260"/>
              <a:gd name="connsiteY3" fmla="*/ 0 h 5357260"/>
              <a:gd name="connsiteX4" fmla="*/ 8675724 w 9231260"/>
              <a:gd name="connsiteY4" fmla="*/ 516780 h 5357260"/>
              <a:gd name="connsiteX5" fmla="*/ 9079710 w 9231260"/>
              <a:gd name="connsiteY5" fmla="*/ 516780 h 5357260"/>
              <a:gd name="connsiteX6" fmla="*/ 9231260 w 9231260"/>
              <a:gd name="connsiteY6" fmla="*/ 668330 h 5357260"/>
              <a:gd name="connsiteX7" fmla="*/ 9231260 w 9231260"/>
              <a:gd name="connsiteY7" fmla="*/ 2618998 h 5357260"/>
              <a:gd name="connsiteX8" fmla="*/ 9079710 w 9231260"/>
              <a:gd name="connsiteY8" fmla="*/ 2770548 h 5357260"/>
              <a:gd name="connsiteX9" fmla="*/ 8675724 w 9231260"/>
              <a:gd name="connsiteY9" fmla="*/ 2770548 h 5357260"/>
              <a:gd name="connsiteX10" fmla="*/ 8675724 w 9231260"/>
              <a:gd name="connsiteY10" fmla="*/ 5357260 h 5357260"/>
              <a:gd name="connsiteX11" fmla="*/ 4699591 w 9231260"/>
              <a:gd name="connsiteY11" fmla="*/ 5357260 h 5357260"/>
              <a:gd name="connsiteX12" fmla="*/ 3476844 w 9231260"/>
              <a:gd name="connsiteY12" fmla="*/ 5357260 h 5357260"/>
              <a:gd name="connsiteX13" fmla="*/ 0 w 9231260"/>
              <a:gd name="connsiteY13" fmla="*/ 5357260 h 535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231260" h="5357260">
                <a:moveTo>
                  <a:pt x="0" y="0"/>
                </a:moveTo>
                <a:lnTo>
                  <a:pt x="3476844" y="0"/>
                </a:lnTo>
                <a:lnTo>
                  <a:pt x="4699591" y="0"/>
                </a:lnTo>
                <a:lnTo>
                  <a:pt x="8675724" y="0"/>
                </a:lnTo>
                <a:lnTo>
                  <a:pt x="8675724" y="516780"/>
                </a:lnTo>
                <a:lnTo>
                  <a:pt x="9079710" y="516780"/>
                </a:lnTo>
                <a:cubicBezTo>
                  <a:pt x="9163409" y="516780"/>
                  <a:pt x="9231260" y="584631"/>
                  <a:pt x="9231260" y="668330"/>
                </a:cubicBezTo>
                <a:lnTo>
                  <a:pt x="9231260" y="2618998"/>
                </a:lnTo>
                <a:cubicBezTo>
                  <a:pt x="9231260" y="2702697"/>
                  <a:pt x="9163409" y="2770548"/>
                  <a:pt x="9079710" y="2770548"/>
                </a:cubicBezTo>
                <a:lnTo>
                  <a:pt x="8675724" y="2770548"/>
                </a:lnTo>
                <a:lnTo>
                  <a:pt x="8675724" y="5357260"/>
                </a:lnTo>
                <a:lnTo>
                  <a:pt x="4699591" y="5357260"/>
                </a:lnTo>
                <a:lnTo>
                  <a:pt x="3476844" y="5357260"/>
                </a:lnTo>
                <a:lnTo>
                  <a:pt x="0" y="53572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0800" dist="762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3" name="竖排文本占位符 13"/>
          <p:cNvSpPr>
            <a:spLocks noGrp="1"/>
          </p:cNvSpPr>
          <p:nvPr>
            <p:ph type="body" orient="vert" sz="quarter" idx="10" hasCustomPrompt="1"/>
          </p:nvPr>
        </p:nvSpPr>
        <p:spPr>
          <a:xfrm>
            <a:off x="11115317" y="1337310"/>
            <a:ext cx="602968" cy="2171700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b="0" baseline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defRPr>
            </a:lvl1pPr>
          </a:lstStyle>
          <a:p>
            <a:pPr lvl="0"/>
            <a:r>
              <a:rPr kumimoji="1" lang="zh-CN" altLang="en-US"/>
              <a:t>添加</a:t>
            </a:r>
            <a:r>
              <a:rPr kumimoji="1" lang="zh-CN" altLang="en-US" dirty="0"/>
              <a:t>标题</a:t>
            </a:r>
          </a:p>
        </p:txBody>
      </p:sp>
      <p:sp>
        <p:nvSpPr>
          <p:cNvPr id="4" name="竖排文本占位符 15"/>
          <p:cNvSpPr>
            <a:spLocks noGrp="1"/>
          </p:cNvSpPr>
          <p:nvPr>
            <p:ph type="body" orient="vert" sz="quarter" idx="11" hasCustomPrompt="1"/>
          </p:nvPr>
        </p:nvSpPr>
        <p:spPr>
          <a:xfrm>
            <a:off x="11118528" y="799460"/>
            <a:ext cx="600147" cy="537847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dirty="0"/>
              <a:t>02</a:t>
            </a:r>
            <a:endParaRPr kumimoji="1" lang="zh-CN" altLang="en-US" dirty="0"/>
          </a:p>
        </p:txBody>
      </p:sp>
      <p:sp>
        <p:nvSpPr>
          <p:cNvPr id="5" name="文本占位符 5"/>
          <p:cNvSpPr>
            <a:spLocks noGrp="1"/>
          </p:cNvSpPr>
          <p:nvPr>
            <p:ph type="body" sz="quarter" idx="12" hasCustomPrompt="1"/>
          </p:nvPr>
        </p:nvSpPr>
        <p:spPr>
          <a:xfrm>
            <a:off x="308928" y="240031"/>
            <a:ext cx="3943032" cy="35433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dirty="0"/>
              <a:t>CLICK</a:t>
            </a:r>
            <a:r>
              <a:rPr kumimoji="1" lang="zh-CN" altLang="en-US" dirty="0"/>
              <a:t> </a:t>
            </a:r>
            <a:r>
              <a:rPr kumimoji="1" lang="en-US" altLang="zh-CN" dirty="0"/>
              <a:t>HERE</a:t>
            </a:r>
            <a:r>
              <a:rPr kumimoji="1" lang="zh-CN" altLang="en-US" dirty="0"/>
              <a:t> </a:t>
            </a:r>
            <a:r>
              <a:rPr kumimoji="1" lang="en-US" altLang="zh-CN" dirty="0"/>
              <a:t>TO</a:t>
            </a:r>
            <a:r>
              <a:rPr kumimoji="1" lang="zh-CN" altLang="en-US" dirty="0"/>
              <a:t> </a:t>
            </a:r>
            <a:r>
              <a:rPr kumimoji="1" lang="en-US" altLang="zh-CN" dirty="0"/>
              <a:t>ADD</a:t>
            </a:r>
            <a:r>
              <a:rPr kumimoji="1" lang="zh-CN" altLang="en-US" dirty="0"/>
              <a:t> </a:t>
            </a:r>
            <a:r>
              <a:rPr kumimoji="1" lang="en-US" altLang="zh-CN" dirty="0"/>
              <a:t>YOUR</a:t>
            </a:r>
            <a:r>
              <a:rPr kumimoji="1" lang="zh-CN" altLang="en-US" dirty="0"/>
              <a:t> </a:t>
            </a:r>
            <a:r>
              <a:rPr kumimoji="1" lang="en-US" altLang="zh-CN" dirty="0"/>
              <a:t>TITLE</a:t>
            </a:r>
            <a:endParaRPr kumimoji="1"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3" hasCustomPrompt="1"/>
          </p:nvPr>
        </p:nvSpPr>
        <p:spPr>
          <a:xfrm>
            <a:off x="308928" y="594361"/>
            <a:ext cx="3943032" cy="35433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000" b="1" baseline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defRPr>
            </a:lvl1pPr>
          </a:lstStyle>
          <a:p>
            <a:pPr lvl="0"/>
            <a:r>
              <a:rPr kumimoji="1" lang="zh-CN" altLang="en-US" dirty="0"/>
              <a:t>点击</a:t>
            </a:r>
            <a:r>
              <a:rPr kumimoji="1" lang="zh-CN" altLang="en-US"/>
              <a:t>此处添加标题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756711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内容页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任意形状 1"/>
          <p:cNvSpPr/>
          <p:nvPr userDrawn="1"/>
        </p:nvSpPr>
        <p:spPr>
          <a:xfrm>
            <a:off x="1" y="0"/>
            <a:ext cx="11812159" cy="6858000"/>
          </a:xfrm>
          <a:custGeom>
            <a:avLst/>
            <a:gdLst>
              <a:gd name="connsiteX0" fmla="*/ 0 w 9231260"/>
              <a:gd name="connsiteY0" fmla="*/ 0 h 5357260"/>
              <a:gd name="connsiteX1" fmla="*/ 3476844 w 9231260"/>
              <a:gd name="connsiteY1" fmla="*/ 0 h 5357260"/>
              <a:gd name="connsiteX2" fmla="*/ 4699591 w 9231260"/>
              <a:gd name="connsiteY2" fmla="*/ 0 h 5357260"/>
              <a:gd name="connsiteX3" fmla="*/ 8675724 w 9231260"/>
              <a:gd name="connsiteY3" fmla="*/ 0 h 5357260"/>
              <a:gd name="connsiteX4" fmla="*/ 8675724 w 9231260"/>
              <a:gd name="connsiteY4" fmla="*/ 516780 h 5357260"/>
              <a:gd name="connsiteX5" fmla="*/ 9079710 w 9231260"/>
              <a:gd name="connsiteY5" fmla="*/ 516780 h 5357260"/>
              <a:gd name="connsiteX6" fmla="*/ 9231260 w 9231260"/>
              <a:gd name="connsiteY6" fmla="*/ 668330 h 5357260"/>
              <a:gd name="connsiteX7" fmla="*/ 9231260 w 9231260"/>
              <a:gd name="connsiteY7" fmla="*/ 2618998 h 5357260"/>
              <a:gd name="connsiteX8" fmla="*/ 9079710 w 9231260"/>
              <a:gd name="connsiteY8" fmla="*/ 2770548 h 5357260"/>
              <a:gd name="connsiteX9" fmla="*/ 8675724 w 9231260"/>
              <a:gd name="connsiteY9" fmla="*/ 2770548 h 5357260"/>
              <a:gd name="connsiteX10" fmla="*/ 8675724 w 9231260"/>
              <a:gd name="connsiteY10" fmla="*/ 5357260 h 5357260"/>
              <a:gd name="connsiteX11" fmla="*/ 4699591 w 9231260"/>
              <a:gd name="connsiteY11" fmla="*/ 5357260 h 5357260"/>
              <a:gd name="connsiteX12" fmla="*/ 3476844 w 9231260"/>
              <a:gd name="connsiteY12" fmla="*/ 5357260 h 5357260"/>
              <a:gd name="connsiteX13" fmla="*/ 0 w 9231260"/>
              <a:gd name="connsiteY13" fmla="*/ 5357260 h 535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231260" h="5357260">
                <a:moveTo>
                  <a:pt x="0" y="0"/>
                </a:moveTo>
                <a:lnTo>
                  <a:pt x="3476844" y="0"/>
                </a:lnTo>
                <a:lnTo>
                  <a:pt x="4699591" y="0"/>
                </a:lnTo>
                <a:lnTo>
                  <a:pt x="8675724" y="0"/>
                </a:lnTo>
                <a:lnTo>
                  <a:pt x="8675724" y="516780"/>
                </a:lnTo>
                <a:lnTo>
                  <a:pt x="9079710" y="516780"/>
                </a:lnTo>
                <a:cubicBezTo>
                  <a:pt x="9163409" y="516780"/>
                  <a:pt x="9231260" y="584631"/>
                  <a:pt x="9231260" y="668330"/>
                </a:cubicBezTo>
                <a:lnTo>
                  <a:pt x="9231260" y="2618998"/>
                </a:lnTo>
                <a:cubicBezTo>
                  <a:pt x="9231260" y="2702697"/>
                  <a:pt x="9163409" y="2770548"/>
                  <a:pt x="9079710" y="2770548"/>
                </a:cubicBezTo>
                <a:lnTo>
                  <a:pt x="8675724" y="2770548"/>
                </a:lnTo>
                <a:lnTo>
                  <a:pt x="8675724" y="5357260"/>
                </a:lnTo>
                <a:lnTo>
                  <a:pt x="4699591" y="5357260"/>
                </a:lnTo>
                <a:lnTo>
                  <a:pt x="3476844" y="5357260"/>
                </a:lnTo>
                <a:lnTo>
                  <a:pt x="0" y="53572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outerShdw blurRad="50800" dist="762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3" name="竖排文本占位符 13"/>
          <p:cNvSpPr>
            <a:spLocks noGrp="1"/>
          </p:cNvSpPr>
          <p:nvPr>
            <p:ph type="body" orient="vert" sz="quarter" idx="10" hasCustomPrompt="1"/>
          </p:nvPr>
        </p:nvSpPr>
        <p:spPr>
          <a:xfrm>
            <a:off x="11115317" y="1337310"/>
            <a:ext cx="602968" cy="2171700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b="0" baseline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defRPr>
            </a:lvl1pPr>
          </a:lstStyle>
          <a:p>
            <a:pPr lvl="0"/>
            <a:r>
              <a:rPr kumimoji="1" lang="zh-CN" altLang="en-US"/>
              <a:t>添加</a:t>
            </a:r>
            <a:r>
              <a:rPr kumimoji="1" lang="zh-CN" altLang="en-US" dirty="0"/>
              <a:t>标题</a:t>
            </a:r>
          </a:p>
        </p:txBody>
      </p:sp>
      <p:sp>
        <p:nvSpPr>
          <p:cNvPr id="4" name="竖排文本占位符 15"/>
          <p:cNvSpPr>
            <a:spLocks noGrp="1"/>
          </p:cNvSpPr>
          <p:nvPr>
            <p:ph type="body" orient="vert" sz="quarter" idx="11" hasCustomPrompt="1"/>
          </p:nvPr>
        </p:nvSpPr>
        <p:spPr>
          <a:xfrm>
            <a:off x="11118528" y="799460"/>
            <a:ext cx="600147" cy="537847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dirty="0"/>
              <a:t>03</a:t>
            </a:r>
            <a:endParaRPr kumimoji="1" lang="zh-CN" altLang="en-US" dirty="0"/>
          </a:p>
        </p:txBody>
      </p:sp>
      <p:sp>
        <p:nvSpPr>
          <p:cNvPr id="5" name="文本占位符 5"/>
          <p:cNvSpPr>
            <a:spLocks noGrp="1"/>
          </p:cNvSpPr>
          <p:nvPr>
            <p:ph type="body" sz="quarter" idx="12" hasCustomPrompt="1"/>
          </p:nvPr>
        </p:nvSpPr>
        <p:spPr>
          <a:xfrm>
            <a:off x="308928" y="240031"/>
            <a:ext cx="3943032" cy="35433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dirty="0"/>
              <a:t>CLICK</a:t>
            </a:r>
            <a:r>
              <a:rPr kumimoji="1" lang="zh-CN" altLang="en-US" dirty="0"/>
              <a:t> </a:t>
            </a:r>
            <a:r>
              <a:rPr kumimoji="1" lang="en-US" altLang="zh-CN" dirty="0"/>
              <a:t>HERE</a:t>
            </a:r>
            <a:r>
              <a:rPr kumimoji="1" lang="zh-CN" altLang="en-US" dirty="0"/>
              <a:t> </a:t>
            </a:r>
            <a:r>
              <a:rPr kumimoji="1" lang="en-US" altLang="zh-CN" dirty="0"/>
              <a:t>TO</a:t>
            </a:r>
            <a:r>
              <a:rPr kumimoji="1" lang="zh-CN" altLang="en-US" dirty="0"/>
              <a:t> </a:t>
            </a:r>
            <a:r>
              <a:rPr kumimoji="1" lang="en-US" altLang="zh-CN" dirty="0"/>
              <a:t>ADD</a:t>
            </a:r>
            <a:r>
              <a:rPr kumimoji="1" lang="zh-CN" altLang="en-US" dirty="0"/>
              <a:t> </a:t>
            </a:r>
            <a:r>
              <a:rPr kumimoji="1" lang="en-US" altLang="zh-CN" dirty="0"/>
              <a:t>YOUR</a:t>
            </a:r>
            <a:r>
              <a:rPr kumimoji="1" lang="zh-CN" altLang="en-US" dirty="0"/>
              <a:t> </a:t>
            </a:r>
            <a:r>
              <a:rPr kumimoji="1" lang="en-US" altLang="zh-CN" dirty="0"/>
              <a:t>TITLE</a:t>
            </a:r>
            <a:endParaRPr kumimoji="1"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3" hasCustomPrompt="1"/>
          </p:nvPr>
        </p:nvSpPr>
        <p:spPr>
          <a:xfrm>
            <a:off x="308928" y="594361"/>
            <a:ext cx="3943032" cy="35433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000" b="1" baseline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defRPr>
            </a:lvl1pPr>
          </a:lstStyle>
          <a:p>
            <a:pPr lvl="0"/>
            <a:r>
              <a:rPr kumimoji="1" lang="zh-CN" altLang="en-US" dirty="0"/>
              <a:t>点击</a:t>
            </a:r>
            <a:r>
              <a:rPr kumimoji="1" lang="zh-CN" altLang="en-US"/>
              <a:t>此处添加标题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431284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内容页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任意形状 1"/>
          <p:cNvSpPr/>
          <p:nvPr userDrawn="1"/>
        </p:nvSpPr>
        <p:spPr>
          <a:xfrm>
            <a:off x="1" y="0"/>
            <a:ext cx="11812159" cy="6858000"/>
          </a:xfrm>
          <a:custGeom>
            <a:avLst/>
            <a:gdLst>
              <a:gd name="connsiteX0" fmla="*/ 0 w 9231260"/>
              <a:gd name="connsiteY0" fmla="*/ 0 h 5357260"/>
              <a:gd name="connsiteX1" fmla="*/ 3476844 w 9231260"/>
              <a:gd name="connsiteY1" fmla="*/ 0 h 5357260"/>
              <a:gd name="connsiteX2" fmla="*/ 4699591 w 9231260"/>
              <a:gd name="connsiteY2" fmla="*/ 0 h 5357260"/>
              <a:gd name="connsiteX3" fmla="*/ 8675724 w 9231260"/>
              <a:gd name="connsiteY3" fmla="*/ 0 h 5357260"/>
              <a:gd name="connsiteX4" fmla="*/ 8675724 w 9231260"/>
              <a:gd name="connsiteY4" fmla="*/ 516780 h 5357260"/>
              <a:gd name="connsiteX5" fmla="*/ 9079710 w 9231260"/>
              <a:gd name="connsiteY5" fmla="*/ 516780 h 5357260"/>
              <a:gd name="connsiteX6" fmla="*/ 9231260 w 9231260"/>
              <a:gd name="connsiteY6" fmla="*/ 668330 h 5357260"/>
              <a:gd name="connsiteX7" fmla="*/ 9231260 w 9231260"/>
              <a:gd name="connsiteY7" fmla="*/ 2618998 h 5357260"/>
              <a:gd name="connsiteX8" fmla="*/ 9079710 w 9231260"/>
              <a:gd name="connsiteY8" fmla="*/ 2770548 h 5357260"/>
              <a:gd name="connsiteX9" fmla="*/ 8675724 w 9231260"/>
              <a:gd name="connsiteY9" fmla="*/ 2770548 h 5357260"/>
              <a:gd name="connsiteX10" fmla="*/ 8675724 w 9231260"/>
              <a:gd name="connsiteY10" fmla="*/ 5357260 h 5357260"/>
              <a:gd name="connsiteX11" fmla="*/ 4699591 w 9231260"/>
              <a:gd name="connsiteY11" fmla="*/ 5357260 h 5357260"/>
              <a:gd name="connsiteX12" fmla="*/ 3476844 w 9231260"/>
              <a:gd name="connsiteY12" fmla="*/ 5357260 h 5357260"/>
              <a:gd name="connsiteX13" fmla="*/ 0 w 9231260"/>
              <a:gd name="connsiteY13" fmla="*/ 5357260 h 535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231260" h="5357260">
                <a:moveTo>
                  <a:pt x="0" y="0"/>
                </a:moveTo>
                <a:lnTo>
                  <a:pt x="3476844" y="0"/>
                </a:lnTo>
                <a:lnTo>
                  <a:pt x="4699591" y="0"/>
                </a:lnTo>
                <a:lnTo>
                  <a:pt x="8675724" y="0"/>
                </a:lnTo>
                <a:lnTo>
                  <a:pt x="8675724" y="516780"/>
                </a:lnTo>
                <a:lnTo>
                  <a:pt x="9079710" y="516780"/>
                </a:lnTo>
                <a:cubicBezTo>
                  <a:pt x="9163409" y="516780"/>
                  <a:pt x="9231260" y="584631"/>
                  <a:pt x="9231260" y="668330"/>
                </a:cubicBezTo>
                <a:lnTo>
                  <a:pt x="9231260" y="2618998"/>
                </a:lnTo>
                <a:cubicBezTo>
                  <a:pt x="9231260" y="2702697"/>
                  <a:pt x="9163409" y="2770548"/>
                  <a:pt x="9079710" y="2770548"/>
                </a:cubicBezTo>
                <a:lnTo>
                  <a:pt x="8675724" y="2770548"/>
                </a:lnTo>
                <a:lnTo>
                  <a:pt x="8675724" y="5357260"/>
                </a:lnTo>
                <a:lnTo>
                  <a:pt x="4699591" y="5357260"/>
                </a:lnTo>
                <a:lnTo>
                  <a:pt x="3476844" y="5357260"/>
                </a:lnTo>
                <a:lnTo>
                  <a:pt x="0" y="53572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0800" dist="762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3" name="竖排文本占位符 13"/>
          <p:cNvSpPr>
            <a:spLocks noGrp="1"/>
          </p:cNvSpPr>
          <p:nvPr>
            <p:ph type="body" orient="vert" sz="quarter" idx="10" hasCustomPrompt="1"/>
          </p:nvPr>
        </p:nvSpPr>
        <p:spPr>
          <a:xfrm>
            <a:off x="11115317" y="1337310"/>
            <a:ext cx="602968" cy="2171700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b="0" baseline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defRPr>
            </a:lvl1pPr>
          </a:lstStyle>
          <a:p>
            <a:pPr lvl="0"/>
            <a:r>
              <a:rPr kumimoji="1" lang="zh-CN" altLang="en-US"/>
              <a:t>添加</a:t>
            </a:r>
            <a:r>
              <a:rPr kumimoji="1" lang="zh-CN" altLang="en-US" dirty="0"/>
              <a:t>标题</a:t>
            </a:r>
          </a:p>
        </p:txBody>
      </p:sp>
      <p:sp>
        <p:nvSpPr>
          <p:cNvPr id="4" name="竖排文本占位符 15"/>
          <p:cNvSpPr>
            <a:spLocks noGrp="1"/>
          </p:cNvSpPr>
          <p:nvPr>
            <p:ph type="body" orient="vert" sz="quarter" idx="11" hasCustomPrompt="1"/>
          </p:nvPr>
        </p:nvSpPr>
        <p:spPr>
          <a:xfrm>
            <a:off x="11118528" y="799460"/>
            <a:ext cx="600147" cy="537847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dirty="0"/>
              <a:t>04</a:t>
            </a:r>
            <a:endParaRPr kumimoji="1" lang="zh-CN" altLang="en-US" dirty="0"/>
          </a:p>
        </p:txBody>
      </p:sp>
      <p:sp>
        <p:nvSpPr>
          <p:cNvPr id="5" name="文本占位符 5"/>
          <p:cNvSpPr>
            <a:spLocks noGrp="1"/>
          </p:cNvSpPr>
          <p:nvPr>
            <p:ph type="body" sz="quarter" idx="12" hasCustomPrompt="1"/>
          </p:nvPr>
        </p:nvSpPr>
        <p:spPr>
          <a:xfrm>
            <a:off x="308928" y="240031"/>
            <a:ext cx="3943032" cy="35433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dirty="0"/>
              <a:t>CLICK</a:t>
            </a:r>
            <a:r>
              <a:rPr kumimoji="1" lang="zh-CN" altLang="en-US" dirty="0"/>
              <a:t> </a:t>
            </a:r>
            <a:r>
              <a:rPr kumimoji="1" lang="en-US" altLang="zh-CN" dirty="0"/>
              <a:t>HERE</a:t>
            </a:r>
            <a:r>
              <a:rPr kumimoji="1" lang="zh-CN" altLang="en-US" dirty="0"/>
              <a:t> </a:t>
            </a:r>
            <a:r>
              <a:rPr kumimoji="1" lang="en-US" altLang="zh-CN" dirty="0"/>
              <a:t>TO</a:t>
            </a:r>
            <a:r>
              <a:rPr kumimoji="1" lang="zh-CN" altLang="en-US" dirty="0"/>
              <a:t> </a:t>
            </a:r>
            <a:r>
              <a:rPr kumimoji="1" lang="en-US" altLang="zh-CN" dirty="0"/>
              <a:t>ADD</a:t>
            </a:r>
            <a:r>
              <a:rPr kumimoji="1" lang="zh-CN" altLang="en-US" dirty="0"/>
              <a:t> </a:t>
            </a:r>
            <a:r>
              <a:rPr kumimoji="1" lang="en-US" altLang="zh-CN" dirty="0"/>
              <a:t>YOUR</a:t>
            </a:r>
            <a:r>
              <a:rPr kumimoji="1" lang="zh-CN" altLang="en-US" dirty="0"/>
              <a:t> </a:t>
            </a:r>
            <a:r>
              <a:rPr kumimoji="1" lang="en-US" altLang="zh-CN" dirty="0"/>
              <a:t>TITLE</a:t>
            </a:r>
            <a:endParaRPr kumimoji="1"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3" hasCustomPrompt="1"/>
          </p:nvPr>
        </p:nvSpPr>
        <p:spPr>
          <a:xfrm>
            <a:off x="308928" y="594361"/>
            <a:ext cx="3943032" cy="35433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000" b="1" baseline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defRPr>
            </a:lvl1pPr>
          </a:lstStyle>
          <a:p>
            <a:pPr lvl="0"/>
            <a:r>
              <a:rPr kumimoji="1" lang="zh-CN" altLang="en-US" dirty="0"/>
              <a:t>点击</a:t>
            </a:r>
            <a:r>
              <a:rPr kumimoji="1" lang="zh-CN" altLang="en-US"/>
              <a:t>此处添加标题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012696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5A56B-A871-4C0D-A359-BDD0BA0387E2}" type="datetimeFigureOut">
              <a:rPr lang="en-US" smtClean="0"/>
              <a:pPr/>
              <a:t>07-May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E290DE-37B6-4F5A-A563-4EFFD5B4D2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03956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空白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321579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3194051" y="3529013"/>
            <a:ext cx="749300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95093" y="802300"/>
            <a:ext cx="7491353" cy="2541431"/>
          </a:xfrm>
        </p:spPr>
        <p:txBody>
          <a:bodyPr bIns="0" anchor="b"/>
          <a:lstStyle>
            <a:lvl1pPr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95093" y="3531206"/>
            <a:ext cx="7491353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600" b="0" cap="all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D4C305-69D0-4DD3-AA58-09D5F43F9FC1}" type="datetime1">
              <a:rPr lang="en-US" altLang="en-US"/>
              <a:pPr>
                <a:defRPr/>
              </a:pPr>
              <a:t>07-May-19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94051" y="328613"/>
            <a:ext cx="4116916" cy="30956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Xifeng Yan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913467" y="798514"/>
            <a:ext cx="1068917" cy="504825"/>
          </a:xfrm>
        </p:spPr>
        <p:txBody>
          <a:bodyPr/>
          <a:lstStyle>
            <a:lvl1pPr>
              <a:defRPr/>
            </a:lvl1pPr>
          </a:lstStyle>
          <a:p>
            <a:fld id="{3A128CBE-CFF6-44C2-82EB-F604026D8CB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350447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1924051" y="1847850"/>
            <a:ext cx="876300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02ABD4-27EF-4F7A-9C04-10C9D722CBB7}" type="datetime1">
              <a:rPr lang="en-US" altLang="en-US"/>
              <a:pPr>
                <a:defRPr/>
              </a:pPr>
              <a:t>07-May-19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adik Mussah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AF9C18B-61E8-4739-ABAA-A90157D6C7F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926830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1924051" y="3805238"/>
            <a:ext cx="7490883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4655" y="1756130"/>
            <a:ext cx="7489336" cy="1887950"/>
          </a:xfrm>
        </p:spPr>
        <p:txBody>
          <a:bodyPr anchor="b"/>
          <a:lstStyle>
            <a:lvl1pPr algn="l"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24656" y="3806197"/>
            <a:ext cx="748933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1261C3-D25D-4721-8D63-15CA4DFBE6BD}" type="datetime1">
              <a:rPr lang="en-US" altLang="en-US"/>
              <a:pPr>
                <a:defRPr/>
              </a:pPr>
              <a:t>07-May-19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Xifeng Yan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AC89FFF-47B2-4F70-A977-6D05483EB6A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7975091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1924051" y="1847850"/>
            <a:ext cx="876300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4655" y="804891"/>
            <a:ext cx="8761791" cy="105930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924654" y="2013936"/>
            <a:ext cx="4167828" cy="34375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18909" y="2013937"/>
            <a:ext cx="4167536" cy="343755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25942B-D04F-49F0-86F5-CF55E8B9E013}" type="datetime1">
              <a:rPr lang="en-US" altLang="en-US"/>
              <a:pPr>
                <a:defRPr/>
              </a:pPr>
              <a:t>07-May-19</a:t>
            </a:fld>
            <a:endParaRPr lang="en-US" altLang="en-US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Xifeng Yan</a:t>
            </a: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E6A1DCF-3192-4F49-9FFE-98963B28A50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9064185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1924051" y="1847850"/>
            <a:ext cx="876300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4655" y="804165"/>
            <a:ext cx="8761792" cy="10563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24655" y="2019551"/>
            <a:ext cx="4167688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924655" y="2824271"/>
            <a:ext cx="4167688" cy="264445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18909" y="2023005"/>
            <a:ext cx="4167536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18909" y="2821491"/>
            <a:ext cx="4167536" cy="263737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52B539-6983-4F0A-8228-99D8FEE97E42}" type="datetime1">
              <a:rPr lang="en-US" altLang="en-US"/>
              <a:pPr>
                <a:defRPr/>
              </a:pPr>
              <a:t>07-May-19</a:t>
            </a:fld>
            <a:endParaRPr lang="en-US" altLang="en-US"/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Xifeng Yan</a:t>
            </a: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4E769CB-50A8-43A1-8F97-81FA4196873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244898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1924051" y="1847850"/>
            <a:ext cx="876300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D53A6A-97DD-4857-B2DC-07852C7E9520}" type="datetime1">
              <a:rPr lang="en-US" altLang="en-US"/>
              <a:pPr>
                <a:defRPr/>
              </a:pPr>
              <a:t>07-May-19</a:t>
            </a:fld>
            <a:endParaRPr lang="en-US" alt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Xifeng Yan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96B1C73-856E-4E66-8348-8A8FBFA8466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9339015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BB96F4-3013-494D-A6AA-7B5615E9D2B2}" type="datetime1">
              <a:rPr lang="en-US" altLang="en-US"/>
              <a:pPr>
                <a:defRPr/>
              </a:pPr>
              <a:t>07-May-19</a:t>
            </a:fld>
            <a:endParaRPr lang="en-US" alt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Xifeng Yan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F6ECE92-6716-43E2-8F7D-E9C2387D4FF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728660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1921934" y="3205163"/>
            <a:ext cx="32321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8723" y="798973"/>
            <a:ext cx="3234600" cy="2247117"/>
          </a:xfrm>
        </p:spPr>
        <p:txBody>
          <a:bodyPr anchor="b"/>
          <a:lstStyle>
            <a:lvl1pPr algn="l"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2208" y="798974"/>
            <a:ext cx="5104237" cy="4658826"/>
          </a:xfrm>
        </p:spPr>
        <p:txBody>
          <a:bodyPr anchor="ctr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18723" y="3205493"/>
            <a:ext cx="3236492" cy="2248181"/>
          </a:xfrm>
        </p:spPr>
        <p:txBody>
          <a:bodyPr>
            <a:normAutofit/>
          </a:bodyPr>
          <a:lstStyle>
            <a:lvl1pPr marL="0" indent="0" algn="l">
              <a:buNone/>
              <a:defRPr sz="16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61F75E-CF3F-4C2B-9A51-30CB89BD0C54}" type="datetime1">
              <a:rPr lang="en-US" altLang="en-US"/>
              <a:pPr>
                <a:defRPr/>
              </a:pPr>
              <a:t>07-May-19</a:t>
            </a:fld>
            <a:endParaRPr lang="en-US" altLang="en-US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Xifeng Yan</a:t>
            </a: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6976AF3-1071-42C2-8377-53D7000AAC6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176413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10"/>
          <p:cNvGrpSpPr>
            <a:grpSpLocks/>
          </p:cNvGrpSpPr>
          <p:nvPr/>
        </p:nvGrpSpPr>
        <p:grpSpPr bwMode="auto">
          <a:xfrm>
            <a:off x="6661151" y="482601"/>
            <a:ext cx="4682067" cy="5148263"/>
            <a:chOff x="6852919" y="583365"/>
            <a:chExt cx="4681849" cy="5181928"/>
          </a:xfrm>
        </p:grpSpPr>
        <p:sp>
          <p:nvSpPr>
            <p:cNvPr id="6" name="Rectangle 5"/>
            <p:cNvSpPr/>
            <p:nvPr/>
          </p:nvSpPr>
          <p:spPr>
            <a:xfrm>
              <a:off x="6852919" y="583365"/>
              <a:ext cx="4681849" cy="5181928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7" name="Rectangle 6"/>
            <p:cNvSpPr/>
            <p:nvPr/>
          </p:nvSpPr>
          <p:spPr>
            <a:xfrm>
              <a:off x="7273787" y="915806"/>
              <a:ext cx="3844017" cy="4507918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cxnSp>
        <p:nvCxnSpPr>
          <p:cNvPr id="8" name="Straight Connector 7"/>
          <p:cNvCxnSpPr/>
          <p:nvPr/>
        </p:nvCxnSpPr>
        <p:spPr>
          <a:xfrm>
            <a:off x="1921934" y="3143250"/>
            <a:ext cx="4322233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5531" y="1129513"/>
            <a:ext cx="4326580" cy="1830584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520171" y="1122544"/>
            <a:ext cx="2979997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rtlCol="0">
            <a:normAutofit/>
          </a:bodyPr>
          <a:lstStyle>
            <a:lvl1pPr marL="0" indent="0" algn="ctr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24656" y="3145992"/>
            <a:ext cx="4320381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>
          <a:xfrm>
            <a:off x="1915585" y="5470525"/>
            <a:ext cx="4337049" cy="319088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fld id="{F85BB0C6-452D-4F24-A039-BFA62A86507D}" type="datetime1">
              <a:rPr lang="en-US" altLang="en-US"/>
              <a:pPr>
                <a:defRPr/>
              </a:pPr>
              <a:t>07-May-19</a:t>
            </a:fld>
            <a:endParaRPr lang="en-US" altLang="en-US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917700" y="319089"/>
            <a:ext cx="4334933" cy="3206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Xifeng Yan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5AA2309-EAF2-47F2-966B-D9620D20B03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52514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5A56B-A871-4C0D-A359-BDD0BA0387E2}" type="datetimeFigureOut">
              <a:rPr lang="en-US" smtClean="0"/>
              <a:pPr/>
              <a:t>07-May-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E290DE-37B6-4F5A-A563-4EFFD5B4D2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811187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1924051" y="1847850"/>
            <a:ext cx="876300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9A8B89-7550-40A3-B449-2B6658EDFC9A}" type="datetime1">
              <a:rPr lang="en-US" altLang="en-US"/>
              <a:pPr>
                <a:defRPr/>
              </a:pPr>
              <a:t>07-May-19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Xifeng Yan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48467C9-0BC8-4D40-9083-F85C4AD0DBE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1535529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9224433" y="798513"/>
            <a:ext cx="0" cy="466090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24038" y="798975"/>
            <a:ext cx="1470703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24655" y="798975"/>
            <a:ext cx="7068127" cy="465988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DB9260-76D4-4DF3-9E65-86D33E093210}" type="datetime1">
              <a:rPr lang="en-US" altLang="en-US"/>
              <a:pPr>
                <a:defRPr/>
              </a:pPr>
              <a:t>07-May-19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Xifeng Yan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BA2093B-D590-4624-A32D-E252FEB4785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2869387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block"/>
          <p:cNvSpPr/>
          <p:nvPr/>
        </p:nvSpPr>
        <p:spPr>
          <a:xfrm>
            <a:off x="1141712" y="1600200"/>
            <a:ext cx="11050289" cy="3276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350" dirty="0"/>
          </a:p>
        </p:txBody>
      </p:sp>
      <p:grpSp>
        <p:nvGrpSpPr>
          <p:cNvPr id="7" name="top graphic"/>
          <p:cNvGrpSpPr/>
          <p:nvPr/>
        </p:nvGrpSpPr>
        <p:grpSpPr>
          <a:xfrm>
            <a:off x="1281" y="0"/>
            <a:ext cx="12192127" cy="429768"/>
            <a:chOff x="1279" y="0"/>
            <a:chExt cx="12188952" cy="429768"/>
          </a:xfrm>
        </p:grpSpPr>
        <p:sp>
          <p:nvSpPr>
            <p:cNvPr id="8" name="Rectangle 7"/>
            <p:cNvSpPr/>
            <p:nvPr/>
          </p:nvSpPr>
          <p:spPr>
            <a:xfrm>
              <a:off x="1279" y="0"/>
              <a:ext cx="12188952" cy="228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350" dirty="0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279" y="228600"/>
              <a:ext cx="12188952" cy="2011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350" dirty="0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279" y="306324"/>
              <a:ext cx="12188952" cy="457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350" dirty="0"/>
            </a:p>
          </p:txBody>
        </p:sp>
      </p:grpSp>
      <p:grpSp>
        <p:nvGrpSpPr>
          <p:cNvPr id="23" name="bottom graphic"/>
          <p:cNvGrpSpPr/>
          <p:nvPr/>
        </p:nvGrpSpPr>
        <p:grpSpPr>
          <a:xfrm>
            <a:off x="1" y="6080760"/>
            <a:ext cx="12193407" cy="777240"/>
            <a:chOff x="0" y="6080760"/>
            <a:chExt cx="12190231" cy="777240"/>
          </a:xfrm>
        </p:grpSpPr>
        <p:sp>
          <p:nvSpPr>
            <p:cNvPr id="13" name="Rectangle 12"/>
            <p:cNvSpPr/>
            <p:nvPr/>
          </p:nvSpPr>
          <p:spPr>
            <a:xfrm>
              <a:off x="0" y="6217920"/>
              <a:ext cx="12188825" cy="64008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3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350" dirty="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279" y="6080760"/>
              <a:ext cx="12188952" cy="9721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350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279" y="6172200"/>
              <a:ext cx="12188952" cy="274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350" dirty="0"/>
            </a:p>
          </p:txBody>
        </p:sp>
      </p:grp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1BA25A-F645-4C7F-A83F-1FB0CCB85A9E}" type="datetime1">
              <a:rPr lang="en-US" smtClean="0"/>
              <a:t>07-May-19</a:t>
            </a:fld>
            <a:endParaRPr lang="en-US" dirty="0"/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2810" y="5029200"/>
            <a:ext cx="8231741" cy="8382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3429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9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9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9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2811" y="1905000"/>
            <a:ext cx="9146380" cy="2667000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4951">
                <a:solidFill>
                  <a:schemeClr val="bg1"/>
                </a:solidFill>
                <a:effectLst>
                  <a:outerShdw blurRad="889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98594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C75ECA-7AF0-4E5B-A96B-5227B7D1954F}" type="datetime1">
              <a:rPr lang="en-US" smtClean="0"/>
              <a:t>07-May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2401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114200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DD4175A-1FAF-4260-8B8C-01ED497C93DD}" type="datetime1">
              <a:rPr lang="en-US" smtClean="0"/>
              <a:t>07-May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F28FB93-0A08-4E7D-8E63-9EFA29F1E09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22810" y="4876800"/>
            <a:ext cx="8231741" cy="1143000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342991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9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97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9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9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94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9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9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2810" y="1905000"/>
            <a:ext cx="9146381" cy="2667000"/>
          </a:xfrm>
        </p:spPr>
        <p:txBody>
          <a:bodyPr anchor="b">
            <a:normAutofit/>
          </a:bodyPr>
          <a:lstStyle>
            <a:lvl1pPr algn="l">
              <a:defRPr sz="4051" b="0" cap="none" baseline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516625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2A873-FC18-4999-A1A3-E6756F5C6F5E}" type="datetime1">
              <a:rPr lang="en-US" smtClean="0"/>
              <a:t>07-May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2472" y="1904999"/>
            <a:ext cx="4436720" cy="408892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 baseline="0"/>
            </a:lvl8pPr>
            <a:lvl9pPr>
              <a:defRPr sz="1200"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22809" y="1904999"/>
            <a:ext cx="4436720" cy="408892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627944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6871B-7E08-41DC-8D50-5E46CCCB3D4E}" type="datetime1">
              <a:rPr lang="en-US" smtClean="0"/>
              <a:t>07-May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48442" y="2590801"/>
            <a:ext cx="4420751" cy="3429000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050"/>
            </a:lvl6pPr>
            <a:lvl7pPr>
              <a:defRPr sz="1050"/>
            </a:lvl7pPr>
            <a:lvl8pPr>
              <a:defRPr sz="1050"/>
            </a:lvl8pPr>
            <a:lvl9pPr>
              <a:defRPr sz="10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48442" y="1828802"/>
            <a:ext cx="4420751" cy="685801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91" indent="0">
              <a:buNone/>
              <a:defRPr sz="1500" b="1"/>
            </a:lvl2pPr>
            <a:lvl3pPr marL="685983" indent="0">
              <a:buNone/>
              <a:defRPr sz="1350" b="1"/>
            </a:lvl3pPr>
            <a:lvl4pPr marL="1028974" indent="0">
              <a:buNone/>
              <a:defRPr sz="1200" b="1"/>
            </a:lvl4pPr>
            <a:lvl5pPr marL="1371966" indent="0">
              <a:buNone/>
              <a:defRPr sz="1200" b="1"/>
            </a:lvl5pPr>
            <a:lvl6pPr marL="1714957" indent="0">
              <a:buNone/>
              <a:defRPr sz="1200" b="1"/>
            </a:lvl6pPr>
            <a:lvl7pPr marL="2057949" indent="0">
              <a:buNone/>
              <a:defRPr sz="1200" b="1"/>
            </a:lvl7pPr>
            <a:lvl8pPr marL="2400940" indent="0">
              <a:buNone/>
              <a:defRPr sz="1200" b="1"/>
            </a:lvl8pPr>
            <a:lvl9pPr marL="2743932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22810" y="2590801"/>
            <a:ext cx="4420751" cy="3429000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050"/>
            </a:lvl6pPr>
            <a:lvl7pPr>
              <a:defRPr sz="1050"/>
            </a:lvl7pPr>
            <a:lvl8pPr>
              <a:defRPr sz="1050"/>
            </a:lvl8pPr>
            <a:lvl9pPr>
              <a:defRPr sz="10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22810" y="1828802"/>
            <a:ext cx="4420751" cy="685801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91" indent="0">
              <a:buNone/>
              <a:defRPr sz="1500" b="1"/>
            </a:lvl2pPr>
            <a:lvl3pPr marL="685983" indent="0">
              <a:buNone/>
              <a:defRPr sz="1350" b="1"/>
            </a:lvl3pPr>
            <a:lvl4pPr marL="1028974" indent="0">
              <a:buNone/>
              <a:defRPr sz="1200" b="1"/>
            </a:lvl4pPr>
            <a:lvl5pPr marL="1371966" indent="0">
              <a:buNone/>
              <a:defRPr sz="1200" b="1"/>
            </a:lvl5pPr>
            <a:lvl6pPr marL="1714957" indent="0">
              <a:buNone/>
              <a:defRPr sz="1200" b="1"/>
            </a:lvl6pPr>
            <a:lvl7pPr marL="2057949" indent="0">
              <a:buNone/>
              <a:defRPr sz="1200" b="1"/>
            </a:lvl7pPr>
            <a:lvl8pPr marL="2400940" indent="0">
              <a:buNone/>
              <a:defRPr sz="1200" b="1"/>
            </a:lvl8pPr>
            <a:lvl9pPr marL="2743932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858526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B8E724-28DC-4476-926A-01C585730D46}" type="datetime1">
              <a:rPr lang="en-US" smtClean="0"/>
              <a:t>07-May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779624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bottom graphic"/>
          <p:cNvGrpSpPr/>
          <p:nvPr/>
        </p:nvGrpSpPr>
        <p:grpSpPr>
          <a:xfrm>
            <a:off x="1" y="6309360"/>
            <a:ext cx="12193407" cy="548640"/>
            <a:chOff x="0" y="6309360"/>
            <a:chExt cx="12190231" cy="548640"/>
          </a:xfrm>
        </p:grpSpPr>
        <p:sp>
          <p:nvSpPr>
            <p:cNvPr id="7" name="Rectangle 6"/>
            <p:cNvSpPr/>
            <p:nvPr/>
          </p:nvSpPr>
          <p:spPr>
            <a:xfrm>
              <a:off x="0" y="6400800"/>
              <a:ext cx="12188825" cy="4572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3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350" dirty="0"/>
            </a:p>
          </p:txBody>
        </p:sp>
        <p:sp>
          <p:nvSpPr>
            <p:cNvPr id="8" name="Rectangle 7"/>
            <p:cNvSpPr/>
            <p:nvPr/>
          </p:nvSpPr>
          <p:spPr>
            <a:xfrm>
              <a:off x="1279" y="6309360"/>
              <a:ext cx="12188952" cy="9721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350" dirty="0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279" y="6379143"/>
              <a:ext cx="12188952" cy="274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350" dirty="0"/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0804E-2F6A-46CB-9EBD-E9FBB1A2DEE6}" type="datetime1">
              <a:rPr lang="en-US" smtClean="0"/>
              <a:t>07-May-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0819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"/>
          <p:cNvSpPr/>
          <p:nvPr/>
        </p:nvSpPr>
        <p:spPr>
          <a:xfrm>
            <a:off x="1217927" y="1019175"/>
            <a:ext cx="6128076" cy="4572000"/>
          </a:xfrm>
          <a:prstGeom prst="rect">
            <a:avLst/>
          </a:prstGeom>
          <a:noFill/>
          <a:ln w="10160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35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9C44B-B057-4CC0-9897-67008272F6D4}" type="datetime1">
              <a:rPr lang="en-US" smtClean="0"/>
              <a:t>07-May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92319" y="1293495"/>
            <a:ext cx="5579293" cy="4023360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050"/>
            </a:lvl6pPr>
            <a:lvl7pPr>
              <a:defRPr sz="1050"/>
            </a:lvl7pPr>
            <a:lvl8pPr>
              <a:defRPr sz="1050"/>
            </a:lvl8pPr>
            <a:lvl9pPr>
              <a:defRPr sz="10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925279" y="3536831"/>
            <a:ext cx="3125013" cy="1797169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None/>
              <a:defRPr sz="1200"/>
            </a:lvl1pPr>
            <a:lvl2pPr marL="342991" indent="0">
              <a:buNone/>
              <a:defRPr sz="900"/>
            </a:lvl2pPr>
            <a:lvl3pPr marL="685983" indent="0">
              <a:buNone/>
              <a:defRPr sz="750"/>
            </a:lvl3pPr>
            <a:lvl4pPr marL="1028974" indent="0">
              <a:buNone/>
              <a:defRPr sz="675"/>
            </a:lvl4pPr>
            <a:lvl5pPr marL="1371966" indent="0">
              <a:buNone/>
              <a:defRPr sz="675"/>
            </a:lvl5pPr>
            <a:lvl6pPr marL="1714957" indent="0">
              <a:buNone/>
              <a:defRPr sz="675"/>
            </a:lvl6pPr>
            <a:lvl7pPr marL="2057949" indent="0">
              <a:buNone/>
              <a:defRPr sz="675"/>
            </a:lvl7pPr>
            <a:lvl8pPr marL="2400940" indent="0">
              <a:buNone/>
              <a:defRPr sz="675"/>
            </a:lvl8pPr>
            <a:lvl9pPr marL="2743932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25279" y="1371600"/>
            <a:ext cx="3125013" cy="2057400"/>
          </a:xfrm>
        </p:spPr>
        <p:txBody>
          <a:bodyPr anchor="b">
            <a:normAutofit/>
          </a:bodyPr>
          <a:lstStyle>
            <a:lvl1pPr algn="l">
              <a:defRPr sz="2401" b="1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978741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5A56B-A871-4C0D-A359-BDD0BA0387E2}" type="datetimeFigureOut">
              <a:rPr lang="en-US" smtClean="0"/>
              <a:pPr/>
              <a:t>07-May-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E290DE-37B6-4F5A-A563-4EFFD5B4D2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503053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"/>
          <p:cNvSpPr/>
          <p:nvPr/>
        </p:nvSpPr>
        <p:spPr>
          <a:xfrm>
            <a:off x="1217927" y="1019175"/>
            <a:ext cx="6128076" cy="4572000"/>
          </a:xfrm>
          <a:prstGeom prst="rect">
            <a:avLst/>
          </a:prstGeom>
          <a:noFill/>
          <a:ln w="10160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35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A0630B-A268-49E3-80DC-6180FA8AE4B4}" type="datetime1">
              <a:rPr lang="en-US" smtClean="0"/>
              <a:t>07-May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400855" y="1202055"/>
            <a:ext cx="5762220" cy="4206240"/>
          </a:xfrm>
          <a:solidFill>
            <a:schemeClr val="bg1">
              <a:lumMod val="95000"/>
            </a:schemeClr>
          </a:solidFill>
        </p:spPr>
        <p:txBody>
          <a:bodyPr tIns="914400">
            <a:normAutofit/>
          </a:bodyPr>
          <a:lstStyle>
            <a:lvl1pPr marL="0" indent="0" algn="ctr">
              <a:spcBef>
                <a:spcPts val="0"/>
              </a:spcBef>
              <a:buNone/>
              <a:defRPr sz="1800"/>
            </a:lvl1pPr>
            <a:lvl2pPr marL="342991" indent="0">
              <a:buNone/>
              <a:defRPr sz="2101"/>
            </a:lvl2pPr>
            <a:lvl3pPr marL="685983" indent="0">
              <a:buNone/>
              <a:defRPr sz="1800"/>
            </a:lvl3pPr>
            <a:lvl4pPr marL="1028974" indent="0">
              <a:buNone/>
              <a:defRPr sz="1500"/>
            </a:lvl4pPr>
            <a:lvl5pPr marL="1371966" indent="0">
              <a:buNone/>
              <a:defRPr sz="1500"/>
            </a:lvl5pPr>
            <a:lvl6pPr marL="1714957" indent="0">
              <a:buNone/>
              <a:defRPr sz="1500"/>
            </a:lvl6pPr>
            <a:lvl7pPr marL="2057949" indent="0">
              <a:buNone/>
              <a:defRPr sz="1500"/>
            </a:lvl7pPr>
            <a:lvl8pPr marL="2400940" indent="0">
              <a:buNone/>
              <a:defRPr sz="1500"/>
            </a:lvl8pPr>
            <a:lvl9pPr marL="2743932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925279" y="3536831"/>
            <a:ext cx="3125013" cy="1797171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None/>
              <a:defRPr sz="1200"/>
            </a:lvl1pPr>
            <a:lvl2pPr marL="342991" indent="0">
              <a:buNone/>
              <a:defRPr sz="900"/>
            </a:lvl2pPr>
            <a:lvl3pPr marL="685983" indent="0">
              <a:buNone/>
              <a:defRPr sz="750"/>
            </a:lvl3pPr>
            <a:lvl4pPr marL="1028974" indent="0">
              <a:buNone/>
              <a:defRPr sz="675"/>
            </a:lvl4pPr>
            <a:lvl5pPr marL="1371966" indent="0">
              <a:buNone/>
              <a:defRPr sz="675"/>
            </a:lvl5pPr>
            <a:lvl6pPr marL="1714957" indent="0">
              <a:buNone/>
              <a:defRPr sz="675"/>
            </a:lvl6pPr>
            <a:lvl7pPr marL="2057949" indent="0">
              <a:buNone/>
              <a:defRPr sz="675"/>
            </a:lvl7pPr>
            <a:lvl8pPr marL="2400940" indent="0">
              <a:buNone/>
              <a:defRPr sz="675"/>
            </a:lvl8pPr>
            <a:lvl9pPr marL="2743932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25279" y="1371600"/>
            <a:ext cx="3125013" cy="2057400"/>
          </a:xfrm>
        </p:spPr>
        <p:txBody>
          <a:bodyPr anchor="b">
            <a:normAutofit/>
          </a:bodyPr>
          <a:lstStyle>
            <a:lvl1pPr algn="l">
              <a:defRPr sz="2401" b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435208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51C100-B95F-4F4D-BB81-F06B8EC0736A}" type="datetime1">
              <a:rPr lang="en-US" smtClean="0"/>
              <a:t>07-May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534640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C5D770-C370-4828-9472-D5EE4F89738D}" type="datetime1">
              <a:rPr lang="en-US" smtClean="0"/>
              <a:t>07-May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522809" y="609600"/>
            <a:ext cx="7698203" cy="5410200"/>
          </a:xfrm>
        </p:spPr>
        <p:txBody>
          <a:bodyPr vert="eaVert"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96981" y="609600"/>
            <a:ext cx="1143299" cy="54102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847713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E10CDF-7E40-439B-B78C-F09A8EAD9F23}" type="datetime1">
              <a:rPr lang="en-US" smtClean="0"/>
              <a:t>07-May-19</a:t>
            </a:fld>
            <a:endParaRPr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/>
              <a:pPr/>
              <a:t>‹#›</a:t>
            </a:fld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2401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18516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5A56B-A871-4C0D-A359-BDD0BA0387E2}" type="datetimeFigureOut">
              <a:rPr lang="en-US" smtClean="0"/>
              <a:pPr/>
              <a:t>07-May-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E290DE-37B6-4F5A-A563-4EFFD5B4D2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0416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5A56B-A871-4C0D-A359-BDD0BA0387E2}" type="datetimeFigureOut">
              <a:rPr lang="en-US" smtClean="0"/>
              <a:pPr/>
              <a:t>07-May-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E290DE-37B6-4F5A-A563-4EFFD5B4D2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597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5A56B-A871-4C0D-A359-BDD0BA0387E2}" type="datetimeFigureOut">
              <a:rPr lang="en-US" smtClean="0"/>
              <a:pPr/>
              <a:t>07-May-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E290DE-37B6-4F5A-A563-4EFFD5B4D2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93778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5A56B-A871-4C0D-A359-BDD0BA0387E2}" type="datetimeFigureOut">
              <a:rPr lang="en-US" smtClean="0"/>
              <a:pPr/>
              <a:t>07-May-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E290DE-37B6-4F5A-A563-4EFFD5B4D2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6132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27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image" Target="../media/image2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/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85A56B-A871-4C0D-A359-BDD0BA0387E2}" type="datetimeFigureOut">
              <a:rPr lang="en-US" smtClean="0"/>
              <a:pPr/>
              <a:t>07-May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E290DE-37B6-4F5A-A563-4EFFD5B4D2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800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/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E97A4C-FC7A-4A2E-AC8F-DD73066D9776}" type="datetimeFigureOut">
              <a:rPr lang="en-GB" smtClean="0"/>
              <a:pPr/>
              <a:t>07/05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5AB505-F4E8-4EF5-BA15-94F6E7C9E04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964245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8"/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4722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/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016126"/>
            <a:ext cx="12192000" cy="4079875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027" name="Picture 11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t="1538" r="12500" b="-1538"/>
          <a:stretch>
            <a:fillRect/>
          </a:stretch>
        </p:blipFill>
        <p:spPr bwMode="auto">
          <a:xfrm>
            <a:off x="0" y="6096000"/>
            <a:ext cx="12192000" cy="77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Connector 12"/>
          <p:cNvCxnSpPr/>
          <p:nvPr/>
        </p:nvCxnSpPr>
        <p:spPr>
          <a:xfrm>
            <a:off x="0" y="610076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924051" y="804864"/>
            <a:ext cx="8763000" cy="104933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3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24051" y="2016125"/>
            <a:ext cx="8763000" cy="3449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28984" y="330200"/>
            <a:ext cx="3158067" cy="3095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Tahoma" charset="0"/>
                <a:ea typeface="MS PGothic" charset="-128"/>
              </a:defRPr>
            </a:lvl1pPr>
          </a:lstStyle>
          <a:p>
            <a:pPr>
              <a:defRPr/>
            </a:pPr>
            <a:fld id="{158739EE-C1E3-41BB-8F39-8320D7E006BC}" type="datetime1">
              <a:rPr lang="en-US" altLang="en-US"/>
              <a:pPr>
                <a:defRPr/>
              </a:pPr>
              <a:t>07-May-19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4052" y="328613"/>
            <a:ext cx="5378449" cy="309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Tahoma" charset="0"/>
                <a:ea typeface="MS PGothic" charset="-128"/>
              </a:defRPr>
            </a:lvl1pPr>
          </a:lstStyle>
          <a:p>
            <a:pPr>
              <a:defRPr/>
            </a:pPr>
            <a:r>
              <a:rPr lang="en-US"/>
              <a:t>Xifeng Ya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9818" y="798514"/>
            <a:ext cx="1060449" cy="5048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fld id="{25E1850C-2B22-4B5E-A102-CBB87559179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43997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</p:sldLayoutIdLst>
  <p:hf hdr="0"/>
  <p:txStyles>
    <p:titleStyle>
      <a:lvl1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kern="1200" cap="all">
          <a:solidFill>
            <a:schemeClr val="tx1"/>
          </a:solidFill>
          <a:latin typeface="+mj-lt"/>
          <a:ea typeface="+mj-ea"/>
          <a:cs typeface="+mj-cs"/>
        </a:defRPr>
      </a:lvl1pPr>
      <a:lvl2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ill Sans MT" charset="0"/>
        </a:defRPr>
      </a:lvl2pPr>
      <a:lvl3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ill Sans MT" charset="0"/>
        </a:defRPr>
      </a:lvl3pPr>
      <a:lvl4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ill Sans MT" charset="0"/>
        </a:defRPr>
      </a:lvl4pPr>
      <a:lvl5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ill Sans MT" charset="0"/>
        </a:defRPr>
      </a:lvl5pPr>
      <a:lvl6pPr marL="4572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ill Sans MT" charset="0"/>
        </a:defRPr>
      </a:lvl6pPr>
      <a:lvl7pPr marL="9144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ill Sans MT" charset="0"/>
        </a:defRPr>
      </a:lvl7pPr>
      <a:lvl8pPr marL="13716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ill Sans MT" charset="0"/>
        </a:defRPr>
      </a:lvl8pPr>
      <a:lvl9pPr marL="18288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ill Sans MT" charset="0"/>
        </a:defRPr>
      </a:lvl9pPr>
    </p:titleStyle>
    <p:bodyStyle>
      <a:lvl1pPr marL="228600" indent="-228600" algn="l" defTabSz="685800" rtl="0" eaLnBrk="0" fontAlgn="base" hangingPunct="0">
        <a:lnSpc>
          <a:spcPct val="120000"/>
        </a:lnSpc>
        <a:spcBef>
          <a:spcPts val="1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685800" rtl="0" eaLnBrk="0" fontAlgn="base" hangingPunct="0">
        <a:lnSpc>
          <a:spcPct val="120000"/>
        </a:lnSpc>
        <a:spcBef>
          <a:spcPts val="5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685800" rtl="0" eaLnBrk="0" fontAlgn="base" hangingPunct="0">
        <a:lnSpc>
          <a:spcPct val="120000"/>
        </a:lnSpc>
        <a:spcBef>
          <a:spcPts val="5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685800" rtl="0" eaLnBrk="0" fontAlgn="base" hangingPunct="0">
        <a:lnSpc>
          <a:spcPct val="120000"/>
        </a:lnSpc>
        <a:spcBef>
          <a:spcPts val="5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685800" rtl="0" eaLnBrk="0" fontAlgn="base" hangingPunct="0">
        <a:lnSpc>
          <a:spcPct val="120000"/>
        </a:lnSpc>
        <a:spcBef>
          <a:spcPts val="5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/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bottom graphic"/>
          <p:cNvGrpSpPr/>
          <p:nvPr/>
        </p:nvGrpSpPr>
        <p:grpSpPr>
          <a:xfrm>
            <a:off x="1" y="6309360"/>
            <a:ext cx="12193407" cy="548640"/>
            <a:chOff x="0" y="6309360"/>
            <a:chExt cx="12190231" cy="548640"/>
          </a:xfrm>
        </p:grpSpPr>
        <p:sp>
          <p:nvSpPr>
            <p:cNvPr id="7" name="Rectangle 6"/>
            <p:cNvSpPr/>
            <p:nvPr/>
          </p:nvSpPr>
          <p:spPr>
            <a:xfrm>
              <a:off x="0" y="6400800"/>
              <a:ext cx="12188825" cy="4572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3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350" dirty="0"/>
            </a:p>
          </p:txBody>
        </p:sp>
        <p:sp>
          <p:nvSpPr>
            <p:cNvPr id="8" name="Rectangle 7"/>
            <p:cNvSpPr/>
            <p:nvPr/>
          </p:nvSpPr>
          <p:spPr>
            <a:xfrm>
              <a:off x="1279" y="6309360"/>
              <a:ext cx="12188952" cy="9721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350" dirty="0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279" y="6379143"/>
              <a:ext cx="12188952" cy="274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350" dirty="0"/>
            </a:p>
          </p:txBody>
        </p:sp>
      </p:grpSp>
      <p:grpSp>
        <p:nvGrpSpPr>
          <p:cNvPr id="10" name="top graphic"/>
          <p:cNvGrpSpPr/>
          <p:nvPr/>
        </p:nvGrpSpPr>
        <p:grpSpPr>
          <a:xfrm>
            <a:off x="1281" y="0"/>
            <a:ext cx="12192127" cy="320040"/>
            <a:chOff x="1279" y="0"/>
            <a:chExt cx="12188952" cy="320040"/>
          </a:xfrm>
        </p:grpSpPr>
        <p:sp>
          <p:nvSpPr>
            <p:cNvPr id="11" name="Rectangle 10"/>
            <p:cNvSpPr/>
            <p:nvPr/>
          </p:nvSpPr>
          <p:spPr>
            <a:xfrm>
              <a:off x="1279" y="0"/>
              <a:ext cx="12188952" cy="17023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350" dirty="0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279" y="170234"/>
              <a:ext cx="12188952" cy="14980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350" dirty="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279" y="231421"/>
              <a:ext cx="12188952" cy="274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350" dirty="0"/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23272" y="1905001"/>
            <a:ext cx="9145920" cy="36974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996445" y="6516865"/>
            <a:ext cx="1327968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fld id="{3EEB9BB4-BF66-47CA-9CF8-6B910B7E5651}" type="datetime1">
              <a:rPr lang="en-US" smtClean="0"/>
              <a:t>07-May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07891" y="6516865"/>
            <a:ext cx="6063724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 cap="all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1523274" y="5638800"/>
            <a:ext cx="9145919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800" dirty="0" smtClean="0"/>
              <a:t> </a:t>
            </a:r>
            <a:endParaRPr lang="en-US" sz="18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732629" y="6516865"/>
            <a:ext cx="936563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fld id="{DF28FB93-0A08-4E7D-8E63-9EFA29F1E09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23272" y="609600"/>
            <a:ext cx="9145920" cy="10668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6" name="TextBox 15"/>
          <p:cNvSpPr txBox="1"/>
          <p:nvPr userDrawn="1"/>
        </p:nvSpPr>
        <p:spPr>
          <a:xfrm>
            <a:off x="1523274" y="5638800"/>
            <a:ext cx="9145919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800" dirty="0" smtClean="0"/>
              <a:t> 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597282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685983" rtl="0" eaLnBrk="1" latinLnBrk="0" hangingPunct="1">
        <a:lnSpc>
          <a:spcPct val="90000"/>
        </a:lnSpc>
        <a:spcBef>
          <a:spcPct val="0"/>
        </a:spcBef>
        <a:buNone/>
        <a:defRPr sz="240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05795" indent="-205795" algn="l" defTabSz="685983" rtl="0" eaLnBrk="1" latinLnBrk="0" hangingPunct="1">
        <a:lnSpc>
          <a:spcPct val="90000"/>
        </a:lnSpc>
        <a:spcBef>
          <a:spcPts val="1350"/>
        </a:spcBef>
        <a:buClr>
          <a:schemeClr val="tx1"/>
        </a:buClr>
        <a:buSzPct val="8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590" indent="-171496" algn="l" defTabSz="685983" rtl="0" eaLnBrk="1" latinLnBrk="0" hangingPunct="1">
        <a:lnSpc>
          <a:spcPct val="90000"/>
        </a:lnSpc>
        <a:spcBef>
          <a:spcPts val="750"/>
        </a:spcBef>
        <a:buClr>
          <a:schemeClr val="tx1"/>
        </a:buClr>
        <a:buSzPct val="100000"/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617385" indent="-171496" algn="l" defTabSz="685983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Wingdings" pitchFamily="2" charset="2"/>
        <a:buChar char="§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823179" indent="-171496" algn="l" defTabSz="685983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100000"/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94675" indent="-171496" algn="l" defTabSz="685983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166171" indent="-171496" algn="l" defTabSz="685983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100000"/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337667" indent="-171496" algn="l" defTabSz="685983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509162" indent="-171496" algn="l" defTabSz="685983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100000"/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680658" indent="-171496" algn="l" defTabSz="685983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91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983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974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966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957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949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94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932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2.png"/><Relationship Id="rId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quarkslab/dataset-call-graph-blogpost-material" TargetMode="Externa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.bin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" Target="slide3.xml"/><Relationship Id="rId1" Type="http://schemas.openxmlformats.org/officeDocument/2006/relationships/slideLayout" Target="../slideLayouts/slideLayout1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slide" Target="slide3.xml"/><Relationship Id="rId1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" Target="slide3.xml"/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00B3D2B-613A-41BE-987D-E6A1324B45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46493" y="1333910"/>
            <a:ext cx="8737600" cy="173990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800" spc="-150" dirty="0" smtClean="0">
                <a:latin typeface="Arial Black" panose="020B0A04020102020204" pitchFamily="34" charset="0"/>
              </a:rPr>
              <a:t>A  comparative study regarding the effect Of weight constraint in feature extraction From malware call graph</a:t>
            </a:r>
            <a:endParaRPr lang="en-ZA" sz="2800" spc="-150" dirty="0">
              <a:latin typeface="Arial Black" panose="020B0A04020102020204" pitchFamily="34" charset="0"/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4772945D-CA91-4CFE-8EB7-941C7618C9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20506" y="5363496"/>
            <a:ext cx="9720988" cy="1079501"/>
          </a:xfrm>
          <a:noFill/>
        </p:spPr>
        <p:txBody>
          <a:bodyPr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A thesis submitted in partial fulfillment of the requirements for the degree of Bachelor of Science in Computer Science and Engineering</a:t>
            </a:r>
            <a:endParaRPr lang="en-ZA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1186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文本占位符 1"/>
          <p:cNvSpPr>
            <a:spLocks noGrp="1"/>
          </p:cNvSpPr>
          <p:nvPr>
            <p:ph type="body" orient="vert" sz="quarter" idx="10"/>
          </p:nvPr>
        </p:nvSpPr>
        <p:spPr>
          <a:xfrm>
            <a:off x="11115317" y="1337309"/>
            <a:ext cx="602968" cy="2348425"/>
          </a:xfrm>
        </p:spPr>
        <p:txBody>
          <a:bodyPr/>
          <a:lstStyle/>
          <a:p>
            <a:endParaRPr kumimoji="1" lang="en-US" altLang="zh-CN" dirty="0" smtClean="0">
              <a:latin typeface="+mn-lt"/>
              <a:ea typeface="+mn-ea"/>
              <a:cs typeface="+mn-ea"/>
              <a:sym typeface="+mn-lt"/>
            </a:endParaRPr>
          </a:p>
          <a:p>
            <a:endParaRPr kumimoji="1"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竖排文本占位符 2"/>
          <p:cNvSpPr>
            <a:spLocks noGrp="1"/>
          </p:cNvSpPr>
          <p:nvPr>
            <p:ph type="body" orient="vert" sz="quarter" idx="11"/>
          </p:nvPr>
        </p:nvSpPr>
        <p:spPr/>
        <p:txBody>
          <a:bodyPr/>
          <a:lstStyle/>
          <a:p>
            <a:endParaRPr kumimoji="1" lang="en-US" altLang="zh-CN" dirty="0" smtClean="0">
              <a:cs typeface="+mn-ea"/>
              <a:sym typeface="+mn-lt"/>
            </a:endParaRPr>
          </a:p>
          <a:p>
            <a:endParaRPr kumimoji="1" lang="zh-CN" altLang="en-US" dirty="0">
              <a:cs typeface="+mn-ea"/>
              <a:sym typeface="+mn-lt"/>
            </a:endParaRPr>
          </a:p>
        </p:txBody>
      </p:sp>
      <p:sp>
        <p:nvSpPr>
          <p:cNvPr id="6" name="饼图 5"/>
          <p:cNvSpPr/>
          <p:nvPr/>
        </p:nvSpPr>
        <p:spPr>
          <a:xfrm>
            <a:off x="1981455" y="3683439"/>
            <a:ext cx="2740040" cy="2740040"/>
          </a:xfrm>
          <a:prstGeom prst="pie">
            <a:avLst>
              <a:gd name="adj1" fmla="val 10800000"/>
              <a:gd name="adj2" fmla="val 16200000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4">
                <a:lumMod val="50000"/>
              </a:schemeClr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微软雅黑"/>
              <a:cs typeface="+mn-ea"/>
              <a:sym typeface="+mn-lt"/>
            </a:endParaRPr>
          </a:p>
        </p:txBody>
      </p:sp>
      <p:sp>
        <p:nvSpPr>
          <p:cNvPr id="7" name="饼图 6"/>
          <p:cNvSpPr/>
          <p:nvPr/>
        </p:nvSpPr>
        <p:spPr>
          <a:xfrm flipH="1">
            <a:off x="3405549" y="2271430"/>
            <a:ext cx="2740040" cy="2740040"/>
          </a:xfrm>
          <a:prstGeom prst="pie">
            <a:avLst>
              <a:gd name="adj1" fmla="val 10800000"/>
              <a:gd name="adj2" fmla="val 16200000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4">
                <a:lumMod val="50000"/>
              </a:schemeClr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微软雅黑"/>
              <a:cs typeface="+mn-ea"/>
              <a:sym typeface="+mn-lt"/>
            </a:endParaRPr>
          </a:p>
        </p:txBody>
      </p:sp>
      <p:sp>
        <p:nvSpPr>
          <p:cNvPr id="9" name="饼图 8"/>
          <p:cNvSpPr/>
          <p:nvPr/>
        </p:nvSpPr>
        <p:spPr>
          <a:xfrm flipH="1" flipV="1">
            <a:off x="3405549" y="3683439"/>
            <a:ext cx="2740040" cy="2740040"/>
          </a:xfrm>
          <a:prstGeom prst="pie">
            <a:avLst>
              <a:gd name="adj1" fmla="val 10800000"/>
              <a:gd name="adj2" fmla="val 16200000"/>
            </a:avLst>
          </a:prstGeom>
          <a:solidFill>
            <a:schemeClr val="accent3">
              <a:lumMod val="50000"/>
            </a:schemeClr>
          </a:solidFill>
          <a:ln>
            <a:solidFill>
              <a:schemeClr val="accent4">
                <a:lumMod val="50000"/>
              </a:schemeClr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微软雅黑"/>
              <a:cs typeface="+mn-ea"/>
              <a:sym typeface="+mn-lt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348887" y="3641450"/>
            <a:ext cx="16321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微软雅黑"/>
                <a:cs typeface="+mn-ea"/>
                <a:sym typeface="+mn-lt"/>
              </a:rPr>
              <a:t>DFS Code</a:t>
            </a:r>
            <a:endParaRPr kumimoji="0" lang="zh-CN" alt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微软雅黑"/>
              <a:cs typeface="+mn-ea"/>
              <a:sym typeface="+mn-lt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6273408" y="2163958"/>
            <a:ext cx="38716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微软雅黑"/>
                <a:cs typeface="+mn-ea"/>
                <a:sym typeface="+mn-lt"/>
              </a:rPr>
              <a:t>DFS Lexicographic Order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微软雅黑"/>
                <a:cs typeface="+mn-ea"/>
                <a:sym typeface="+mn-lt"/>
              </a:rPr>
              <a:t>VS Minimum DFS Code</a:t>
            </a:r>
            <a:endParaRPr kumimoji="0" lang="zh-CN" alt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微软雅黑"/>
              <a:cs typeface="+mn-ea"/>
              <a:sym typeface="+mn-lt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5657581" y="5961814"/>
            <a:ext cx="31372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2400" b="1" i="0" u="none" strike="noStrike" kern="0" cap="none" spc="0" normalizeH="0" baseline="0" noProof="0" dirty="0">
                <a:ln>
                  <a:noFill/>
                </a:ln>
                <a:solidFill>
                  <a:srgbClr val="5AD9CC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微软雅黑"/>
                <a:cs typeface="+mn-ea"/>
                <a:sym typeface="+mn-lt"/>
              </a:rPr>
              <a:t>DFS Code </a:t>
            </a:r>
            <a:r>
              <a:rPr kumimoji="1" lang="en-US" altLang="zh-CN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5AD9CC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微软雅黑"/>
                <a:cs typeface="+mn-ea"/>
                <a:sym typeface="+mn-lt"/>
              </a:rPr>
              <a:t>Tree</a:t>
            </a:r>
            <a:endParaRPr kumimoji="0" lang="zh-CN" altLang="en-US" sz="2400" b="0" i="0" u="none" strike="noStrike" kern="0" cap="none" spc="0" normalizeH="0" baseline="0" noProof="0" dirty="0">
              <a:ln>
                <a:noFill/>
              </a:ln>
              <a:solidFill>
                <a:srgbClr val="5AD9CC">
                  <a:lumMod val="50000"/>
                </a:srgbClr>
              </a:solidFill>
              <a:effectLst/>
              <a:uLnTx/>
              <a:uFillTx/>
              <a:latin typeface="Century Gothic"/>
              <a:ea typeface="微软雅黑"/>
              <a:cs typeface="+mn-ea"/>
              <a:sym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815611" y="434306"/>
            <a:ext cx="4071244" cy="898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  <a:spcBef>
                <a:spcPts val="600"/>
              </a:spcBef>
            </a:pPr>
            <a:r>
              <a:rPr lang="en-US" sz="4400" b="1" dirty="0" smtClean="0">
                <a:solidFill>
                  <a:prstClr val="black"/>
                </a:solidFill>
                <a:latin typeface="Calibri"/>
                <a:ea typeface="+mj-ea"/>
                <a:cs typeface="+mj-cs"/>
              </a:rPr>
              <a:t>gSpan Algorithm</a:t>
            </a:r>
            <a:endParaRPr lang="en-US" sz="4400" b="1" kern="0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68539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3" name="Rectangle 2"/>
          <p:cNvSpPr>
            <a:spLocks noGrp="1" noChangeArrowheads="1"/>
          </p:cNvSpPr>
          <p:nvPr>
            <p:ph type="title"/>
          </p:nvPr>
        </p:nvSpPr>
        <p:spPr>
          <a:xfrm>
            <a:off x="2657475" y="673893"/>
            <a:ext cx="6572250" cy="642938"/>
          </a:xfrm>
        </p:spPr>
        <p:txBody>
          <a:bodyPr>
            <a:no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sz="4400" b="1" cap="none" dirty="0">
                <a:solidFill>
                  <a:srgbClr val="94B6D2"/>
                </a:solidFill>
                <a:latin typeface="Calibri"/>
              </a:rPr>
              <a:t> </a:t>
            </a:r>
            <a:r>
              <a:rPr lang="en-US" sz="4400" b="1" cap="none" dirty="0" smtClean="0">
                <a:solidFill>
                  <a:prstClr val="black"/>
                </a:solidFill>
                <a:latin typeface="Calibri"/>
              </a:rPr>
              <a:t>DFS Code Tree</a:t>
            </a:r>
            <a:endParaRPr lang="en-US" altLang="en-US" sz="4400" b="1" cap="none" dirty="0">
              <a:ea typeface="MS PGothic" charset="-128"/>
            </a:endParaRPr>
          </a:p>
        </p:txBody>
      </p:sp>
      <p:sp>
        <p:nvSpPr>
          <p:cNvPr id="28675" name="Slide Number Placeholder 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676" name="Oval 3"/>
          <p:cNvSpPr>
            <a:spLocks noChangeArrowheads="1"/>
          </p:cNvSpPr>
          <p:nvPr/>
        </p:nvSpPr>
        <p:spPr bwMode="auto">
          <a:xfrm>
            <a:off x="5867400" y="1905000"/>
            <a:ext cx="304800" cy="2286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677" name="Oval 4"/>
          <p:cNvSpPr>
            <a:spLocks noChangeArrowheads="1"/>
          </p:cNvSpPr>
          <p:nvPr/>
        </p:nvSpPr>
        <p:spPr bwMode="auto">
          <a:xfrm>
            <a:off x="4419600" y="2514600"/>
            <a:ext cx="304800" cy="2286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678" name="Oval 5"/>
          <p:cNvSpPr>
            <a:spLocks noChangeArrowheads="1"/>
          </p:cNvSpPr>
          <p:nvPr/>
        </p:nvSpPr>
        <p:spPr bwMode="auto">
          <a:xfrm>
            <a:off x="5867400" y="2514600"/>
            <a:ext cx="304800" cy="2286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679" name="Oval 6"/>
          <p:cNvSpPr>
            <a:spLocks noChangeArrowheads="1"/>
          </p:cNvSpPr>
          <p:nvPr/>
        </p:nvSpPr>
        <p:spPr bwMode="auto">
          <a:xfrm>
            <a:off x="7924800" y="2514600"/>
            <a:ext cx="304800" cy="2286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680" name="Text Box 7"/>
          <p:cNvSpPr txBox="1">
            <a:spLocks noChangeArrowheads="1"/>
          </p:cNvSpPr>
          <p:nvPr/>
        </p:nvSpPr>
        <p:spPr bwMode="auto">
          <a:xfrm>
            <a:off x="6629400" y="2286001"/>
            <a:ext cx="50800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+mn-cs"/>
              </a:rPr>
              <a:t>...</a:t>
            </a:r>
          </a:p>
        </p:txBody>
      </p:sp>
      <p:sp>
        <p:nvSpPr>
          <p:cNvPr id="28681" name="Line 8"/>
          <p:cNvSpPr>
            <a:spLocks noChangeShapeType="1"/>
          </p:cNvSpPr>
          <p:nvPr/>
        </p:nvSpPr>
        <p:spPr bwMode="auto">
          <a:xfrm flipH="1">
            <a:off x="4572000" y="2057400"/>
            <a:ext cx="1295400" cy="45720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682" name="Line 9"/>
          <p:cNvSpPr>
            <a:spLocks noChangeShapeType="1"/>
          </p:cNvSpPr>
          <p:nvPr/>
        </p:nvSpPr>
        <p:spPr bwMode="auto">
          <a:xfrm>
            <a:off x="6019800" y="2133600"/>
            <a:ext cx="0" cy="38100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683" name="Line 10"/>
          <p:cNvSpPr>
            <a:spLocks noChangeShapeType="1"/>
          </p:cNvSpPr>
          <p:nvPr/>
        </p:nvSpPr>
        <p:spPr bwMode="auto">
          <a:xfrm>
            <a:off x="6172200" y="2057400"/>
            <a:ext cx="457200" cy="45720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684" name="Line 11"/>
          <p:cNvSpPr>
            <a:spLocks noChangeShapeType="1"/>
          </p:cNvSpPr>
          <p:nvPr/>
        </p:nvSpPr>
        <p:spPr bwMode="auto">
          <a:xfrm>
            <a:off x="6248400" y="2057400"/>
            <a:ext cx="1752600" cy="45720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685" name="Oval 12"/>
          <p:cNvSpPr>
            <a:spLocks noChangeArrowheads="1"/>
          </p:cNvSpPr>
          <p:nvPr/>
        </p:nvSpPr>
        <p:spPr bwMode="auto">
          <a:xfrm>
            <a:off x="3352800" y="3352800"/>
            <a:ext cx="304800" cy="2286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686" name="Oval 13"/>
          <p:cNvSpPr>
            <a:spLocks noChangeArrowheads="1"/>
          </p:cNvSpPr>
          <p:nvPr/>
        </p:nvSpPr>
        <p:spPr bwMode="auto">
          <a:xfrm>
            <a:off x="4114800" y="3352800"/>
            <a:ext cx="304800" cy="2286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687" name="Oval 14"/>
          <p:cNvSpPr>
            <a:spLocks noChangeArrowheads="1"/>
          </p:cNvSpPr>
          <p:nvPr/>
        </p:nvSpPr>
        <p:spPr bwMode="auto">
          <a:xfrm>
            <a:off x="5638800" y="3352800"/>
            <a:ext cx="304800" cy="2286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688" name="Text Box 15"/>
          <p:cNvSpPr txBox="1">
            <a:spLocks noChangeArrowheads="1"/>
          </p:cNvSpPr>
          <p:nvPr/>
        </p:nvSpPr>
        <p:spPr bwMode="auto">
          <a:xfrm>
            <a:off x="4572000" y="3138488"/>
            <a:ext cx="508000" cy="519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+mn-cs"/>
              </a:rPr>
              <a:t>...</a:t>
            </a:r>
          </a:p>
        </p:txBody>
      </p:sp>
      <p:sp>
        <p:nvSpPr>
          <p:cNvPr id="28689" name="Oval 16"/>
          <p:cNvSpPr>
            <a:spLocks noChangeArrowheads="1"/>
          </p:cNvSpPr>
          <p:nvPr/>
        </p:nvSpPr>
        <p:spPr bwMode="auto">
          <a:xfrm>
            <a:off x="6172200" y="3352800"/>
            <a:ext cx="304800" cy="2286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690" name="Text Box 17"/>
          <p:cNvSpPr txBox="1">
            <a:spLocks noChangeArrowheads="1"/>
          </p:cNvSpPr>
          <p:nvPr/>
        </p:nvSpPr>
        <p:spPr bwMode="auto">
          <a:xfrm>
            <a:off x="6781800" y="3138488"/>
            <a:ext cx="508000" cy="519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+mn-cs"/>
              </a:rPr>
              <a:t>...</a:t>
            </a:r>
          </a:p>
        </p:txBody>
      </p:sp>
      <p:sp>
        <p:nvSpPr>
          <p:cNvPr id="28691" name="Line 18"/>
          <p:cNvSpPr>
            <a:spLocks noChangeShapeType="1"/>
          </p:cNvSpPr>
          <p:nvPr/>
        </p:nvSpPr>
        <p:spPr bwMode="auto">
          <a:xfrm flipH="1">
            <a:off x="3581400" y="2743200"/>
            <a:ext cx="914400" cy="60960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692" name="Line 19"/>
          <p:cNvSpPr>
            <a:spLocks noChangeShapeType="1"/>
          </p:cNvSpPr>
          <p:nvPr/>
        </p:nvSpPr>
        <p:spPr bwMode="auto">
          <a:xfrm flipH="1">
            <a:off x="4191000" y="2743200"/>
            <a:ext cx="304800" cy="60960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693" name="Line 20"/>
          <p:cNvSpPr>
            <a:spLocks noChangeShapeType="1"/>
          </p:cNvSpPr>
          <p:nvPr/>
        </p:nvSpPr>
        <p:spPr bwMode="auto">
          <a:xfrm>
            <a:off x="4572000" y="2743200"/>
            <a:ext cx="228600" cy="60960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694" name="Line 21"/>
          <p:cNvSpPr>
            <a:spLocks noChangeShapeType="1"/>
          </p:cNvSpPr>
          <p:nvPr/>
        </p:nvSpPr>
        <p:spPr bwMode="auto">
          <a:xfrm flipH="1">
            <a:off x="5791200" y="2743200"/>
            <a:ext cx="228600" cy="60960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695" name="Line 22"/>
          <p:cNvSpPr>
            <a:spLocks noChangeShapeType="1"/>
          </p:cNvSpPr>
          <p:nvPr/>
        </p:nvSpPr>
        <p:spPr bwMode="auto">
          <a:xfrm>
            <a:off x="6096000" y="2743200"/>
            <a:ext cx="228600" cy="60960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696" name="Line 23"/>
          <p:cNvSpPr>
            <a:spLocks noChangeShapeType="1"/>
          </p:cNvSpPr>
          <p:nvPr/>
        </p:nvSpPr>
        <p:spPr bwMode="auto">
          <a:xfrm>
            <a:off x="6096000" y="2743200"/>
            <a:ext cx="838200" cy="60960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697" name="Text Box 24"/>
          <p:cNvSpPr txBox="1">
            <a:spLocks noChangeArrowheads="1"/>
          </p:cNvSpPr>
          <p:nvPr/>
        </p:nvSpPr>
        <p:spPr bwMode="auto">
          <a:xfrm>
            <a:off x="2743200" y="2262188"/>
            <a:ext cx="111918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+mn-cs"/>
              </a:rPr>
              <a:t>1-edge</a:t>
            </a:r>
            <a:endParaRPr kumimoji="0" lang="en-US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698" name="Text Box 25"/>
          <p:cNvSpPr txBox="1">
            <a:spLocks noChangeArrowheads="1"/>
          </p:cNvSpPr>
          <p:nvPr/>
        </p:nvSpPr>
        <p:spPr bwMode="auto">
          <a:xfrm>
            <a:off x="1981200" y="3100388"/>
            <a:ext cx="111918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+mn-cs"/>
              </a:rPr>
              <a:t>2-edge</a:t>
            </a:r>
            <a:endParaRPr kumimoji="0" lang="en-US" alt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699" name="Oval 26"/>
          <p:cNvSpPr>
            <a:spLocks noChangeArrowheads="1"/>
          </p:cNvSpPr>
          <p:nvPr/>
        </p:nvSpPr>
        <p:spPr bwMode="auto">
          <a:xfrm>
            <a:off x="2667000" y="4114800"/>
            <a:ext cx="304800" cy="228600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700" name="Oval 27"/>
          <p:cNvSpPr>
            <a:spLocks noChangeArrowheads="1"/>
          </p:cNvSpPr>
          <p:nvPr/>
        </p:nvSpPr>
        <p:spPr bwMode="auto">
          <a:xfrm>
            <a:off x="3429000" y="4114800"/>
            <a:ext cx="304800" cy="2286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701" name="Text Box 28"/>
          <p:cNvSpPr txBox="1">
            <a:spLocks noChangeArrowheads="1"/>
          </p:cNvSpPr>
          <p:nvPr/>
        </p:nvSpPr>
        <p:spPr bwMode="auto">
          <a:xfrm>
            <a:off x="3886200" y="3900488"/>
            <a:ext cx="508000" cy="519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+mn-cs"/>
              </a:rPr>
              <a:t>...</a:t>
            </a:r>
          </a:p>
        </p:txBody>
      </p:sp>
      <p:sp>
        <p:nvSpPr>
          <p:cNvPr id="28702" name="Line 29"/>
          <p:cNvSpPr>
            <a:spLocks noChangeShapeType="1"/>
          </p:cNvSpPr>
          <p:nvPr/>
        </p:nvSpPr>
        <p:spPr bwMode="auto">
          <a:xfrm flipH="1">
            <a:off x="2895600" y="3581400"/>
            <a:ext cx="457200" cy="53340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703" name="Line 30"/>
          <p:cNvSpPr>
            <a:spLocks noChangeShapeType="1"/>
          </p:cNvSpPr>
          <p:nvPr/>
        </p:nvSpPr>
        <p:spPr bwMode="auto">
          <a:xfrm>
            <a:off x="3505200" y="3581400"/>
            <a:ext cx="76200" cy="53340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704" name="Line 31"/>
          <p:cNvSpPr>
            <a:spLocks noChangeShapeType="1"/>
          </p:cNvSpPr>
          <p:nvPr/>
        </p:nvSpPr>
        <p:spPr bwMode="auto">
          <a:xfrm>
            <a:off x="3581400" y="3581400"/>
            <a:ext cx="533400" cy="53340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705" name="Text Box 32"/>
          <p:cNvSpPr txBox="1">
            <a:spLocks noChangeArrowheads="1"/>
          </p:cNvSpPr>
          <p:nvPr/>
        </p:nvSpPr>
        <p:spPr bwMode="auto">
          <a:xfrm>
            <a:off x="1624014" y="3962400"/>
            <a:ext cx="1119187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+mn-cs"/>
              </a:rPr>
              <a:t>3-edge</a:t>
            </a:r>
            <a:endParaRPr kumimoji="0" lang="en-US" alt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706" name="Oval 33"/>
          <p:cNvSpPr>
            <a:spLocks noChangeArrowheads="1"/>
          </p:cNvSpPr>
          <p:nvPr/>
        </p:nvSpPr>
        <p:spPr bwMode="auto">
          <a:xfrm>
            <a:off x="5207000" y="4038600"/>
            <a:ext cx="304800" cy="228600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707" name="Oval 34"/>
          <p:cNvSpPr>
            <a:spLocks noChangeArrowheads="1"/>
          </p:cNvSpPr>
          <p:nvPr/>
        </p:nvSpPr>
        <p:spPr bwMode="auto">
          <a:xfrm>
            <a:off x="5969000" y="4038600"/>
            <a:ext cx="304800" cy="2286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708" name="Text Box 35"/>
          <p:cNvSpPr txBox="1">
            <a:spLocks noChangeArrowheads="1"/>
          </p:cNvSpPr>
          <p:nvPr/>
        </p:nvSpPr>
        <p:spPr bwMode="auto">
          <a:xfrm>
            <a:off x="6426200" y="3824288"/>
            <a:ext cx="508000" cy="519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+mn-cs"/>
              </a:rPr>
              <a:t>...</a:t>
            </a:r>
          </a:p>
        </p:txBody>
      </p:sp>
      <p:sp>
        <p:nvSpPr>
          <p:cNvPr id="28709" name="Line 36"/>
          <p:cNvSpPr>
            <a:spLocks noChangeShapeType="1"/>
          </p:cNvSpPr>
          <p:nvPr/>
        </p:nvSpPr>
        <p:spPr bwMode="auto">
          <a:xfrm flipH="1">
            <a:off x="5334000" y="3581400"/>
            <a:ext cx="381000" cy="45720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710" name="Line 37"/>
          <p:cNvSpPr>
            <a:spLocks noChangeShapeType="1"/>
          </p:cNvSpPr>
          <p:nvPr/>
        </p:nvSpPr>
        <p:spPr bwMode="auto">
          <a:xfrm>
            <a:off x="5791200" y="3581400"/>
            <a:ext cx="304800" cy="45720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711" name="Oval 38"/>
          <p:cNvSpPr>
            <a:spLocks noChangeArrowheads="1"/>
          </p:cNvSpPr>
          <p:nvPr/>
        </p:nvSpPr>
        <p:spPr bwMode="auto">
          <a:xfrm>
            <a:off x="1930400" y="4953000"/>
            <a:ext cx="304800" cy="2286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712" name="Oval 39"/>
          <p:cNvSpPr>
            <a:spLocks noChangeArrowheads="1"/>
          </p:cNvSpPr>
          <p:nvPr/>
        </p:nvSpPr>
        <p:spPr bwMode="auto">
          <a:xfrm>
            <a:off x="2692400" y="4953000"/>
            <a:ext cx="304800" cy="2286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713" name="Text Box 40"/>
          <p:cNvSpPr txBox="1">
            <a:spLocks noChangeArrowheads="1"/>
          </p:cNvSpPr>
          <p:nvPr/>
        </p:nvSpPr>
        <p:spPr bwMode="auto">
          <a:xfrm>
            <a:off x="3149600" y="4738688"/>
            <a:ext cx="508000" cy="519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+mn-cs"/>
              </a:rPr>
              <a:t>...</a:t>
            </a:r>
          </a:p>
        </p:txBody>
      </p:sp>
      <p:sp>
        <p:nvSpPr>
          <p:cNvPr id="28714" name="Line 41"/>
          <p:cNvSpPr>
            <a:spLocks noChangeShapeType="1"/>
          </p:cNvSpPr>
          <p:nvPr/>
        </p:nvSpPr>
        <p:spPr bwMode="auto">
          <a:xfrm flipH="1">
            <a:off x="2133600" y="4343400"/>
            <a:ext cx="609600" cy="60960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715" name="Line 42"/>
          <p:cNvSpPr>
            <a:spLocks noChangeShapeType="1"/>
          </p:cNvSpPr>
          <p:nvPr/>
        </p:nvSpPr>
        <p:spPr bwMode="auto">
          <a:xfrm>
            <a:off x="2819400" y="4343400"/>
            <a:ext cx="0" cy="60960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716" name="Line 43"/>
          <p:cNvSpPr>
            <a:spLocks noChangeShapeType="1"/>
          </p:cNvSpPr>
          <p:nvPr/>
        </p:nvSpPr>
        <p:spPr bwMode="auto">
          <a:xfrm>
            <a:off x="2895600" y="4419600"/>
            <a:ext cx="533400" cy="45720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717" name="Text Box 44"/>
          <p:cNvSpPr txBox="1">
            <a:spLocks noChangeArrowheads="1"/>
          </p:cNvSpPr>
          <p:nvPr/>
        </p:nvSpPr>
        <p:spPr bwMode="auto">
          <a:xfrm>
            <a:off x="2057400" y="5486401"/>
            <a:ext cx="50800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+mn-cs"/>
              </a:rPr>
              <a:t>...</a:t>
            </a:r>
          </a:p>
        </p:txBody>
      </p:sp>
      <p:sp>
        <p:nvSpPr>
          <p:cNvPr id="28718" name="Oval 45"/>
          <p:cNvSpPr>
            <a:spLocks noChangeArrowheads="1"/>
          </p:cNvSpPr>
          <p:nvPr/>
        </p:nvSpPr>
        <p:spPr bwMode="auto">
          <a:xfrm>
            <a:off x="4749800" y="4938713"/>
            <a:ext cx="304800" cy="2286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719" name="Oval 46"/>
          <p:cNvSpPr>
            <a:spLocks noChangeArrowheads="1"/>
          </p:cNvSpPr>
          <p:nvPr/>
        </p:nvSpPr>
        <p:spPr bwMode="auto">
          <a:xfrm>
            <a:off x="5511800" y="4938713"/>
            <a:ext cx="304800" cy="2286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720" name="Text Box 47"/>
          <p:cNvSpPr txBox="1">
            <a:spLocks noChangeArrowheads="1"/>
          </p:cNvSpPr>
          <p:nvPr/>
        </p:nvSpPr>
        <p:spPr bwMode="auto">
          <a:xfrm>
            <a:off x="5969000" y="4724401"/>
            <a:ext cx="50800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+mn-cs"/>
              </a:rPr>
              <a:t>...</a:t>
            </a:r>
          </a:p>
        </p:txBody>
      </p:sp>
      <p:sp>
        <p:nvSpPr>
          <p:cNvPr id="28721" name="Line 48"/>
          <p:cNvSpPr>
            <a:spLocks noChangeShapeType="1"/>
          </p:cNvSpPr>
          <p:nvPr/>
        </p:nvSpPr>
        <p:spPr bwMode="auto">
          <a:xfrm flipH="1">
            <a:off x="4953000" y="4267200"/>
            <a:ext cx="381000" cy="68580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722" name="Line 49"/>
          <p:cNvSpPr>
            <a:spLocks noChangeShapeType="1"/>
          </p:cNvSpPr>
          <p:nvPr/>
        </p:nvSpPr>
        <p:spPr bwMode="auto">
          <a:xfrm>
            <a:off x="5334000" y="4267200"/>
            <a:ext cx="304800" cy="68580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723" name="Line 50"/>
          <p:cNvSpPr>
            <a:spLocks noChangeShapeType="1"/>
          </p:cNvSpPr>
          <p:nvPr/>
        </p:nvSpPr>
        <p:spPr bwMode="auto">
          <a:xfrm>
            <a:off x="5410200" y="4267200"/>
            <a:ext cx="685800" cy="76200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725" name="Oval 52"/>
          <p:cNvSpPr>
            <a:spLocks noChangeArrowheads="1"/>
          </p:cNvSpPr>
          <p:nvPr/>
        </p:nvSpPr>
        <p:spPr bwMode="auto">
          <a:xfrm>
            <a:off x="4267200" y="4495800"/>
            <a:ext cx="2514600" cy="1600200"/>
          </a:xfrm>
          <a:prstGeom prst="ellipse">
            <a:avLst/>
          </a:prstGeom>
          <a:noFill/>
          <a:ln w="19050">
            <a:solidFill>
              <a:schemeClr val="tx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4755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57400" y="1905002"/>
            <a:ext cx="8077200" cy="369746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i="1" dirty="0"/>
              <a:t>P</a:t>
            </a:r>
            <a:r>
              <a:rPr lang="en-US" sz="2000" i="1" dirty="0" smtClean="0"/>
              <a:t>artial </a:t>
            </a:r>
            <a:r>
              <a:rPr lang="en-US" sz="2000" i="1" dirty="0"/>
              <a:t>simulation of </a:t>
            </a:r>
            <a:r>
              <a:rPr lang="en-US" sz="2000" i="1" dirty="0" err="1" smtClean="0"/>
              <a:t>MaxPWS</a:t>
            </a:r>
            <a:r>
              <a:rPr lang="en-US" sz="2000" i="1" dirty="0" smtClean="0"/>
              <a:t> on </a:t>
            </a:r>
            <a:r>
              <a:rPr lang="en-US" sz="2000" i="1" dirty="0"/>
              <a:t>sample graph database, GDB. (</a:t>
            </a:r>
            <a:r>
              <a:rPr lang="en-US" sz="2000" i="1" dirty="0" err="1"/>
              <a:t>MaxW</a:t>
            </a:r>
            <a:r>
              <a:rPr lang="en-US" sz="2000" i="1" dirty="0"/>
              <a:t> = 2.0, </a:t>
            </a:r>
            <a:r>
              <a:rPr lang="el-GR" sz="2000" i="1" dirty="0"/>
              <a:t>τ</a:t>
            </a:r>
            <a:r>
              <a:rPr lang="en-US" sz="2000" i="1" dirty="0"/>
              <a:t> = 3.0)</a:t>
            </a:r>
          </a:p>
          <a:p>
            <a:pPr marL="0" indent="0">
              <a:buNone/>
            </a:pPr>
            <a:endParaRPr lang="en-US" sz="2000" i="1" dirty="0"/>
          </a:p>
        </p:txBody>
      </p:sp>
      <p:sp>
        <p:nvSpPr>
          <p:cNvPr id="5" name="TextBox 4"/>
          <p:cNvSpPr txBox="1"/>
          <p:nvPr/>
        </p:nvSpPr>
        <p:spPr>
          <a:xfrm>
            <a:off x="4305300" y="5837506"/>
            <a:ext cx="3581400" cy="369332"/>
          </a:xfrm>
          <a:prstGeom prst="rect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txBody>
          <a:bodyPr wrap="square" rtlCol="0" anchor="ctr" anchorCtr="1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/>
              </a:rPr>
              <a:t>Figure: Sample graph database, GDB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3125" y="2743201"/>
            <a:ext cx="7905750" cy="2867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>
                <a:solidFill>
                  <a:prstClr val="white"/>
                </a:solidFill>
                <a:latin typeface="Calibri"/>
              </a:rPr>
              <a:pPr/>
              <a:t>12</a:t>
            </a:fld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23040" y="695636"/>
            <a:ext cx="9145920" cy="589935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 smtClean="0"/>
              <a:t> </a:t>
            </a:r>
            <a:r>
              <a:rPr lang="en-US" sz="4400" b="1" dirty="0" smtClean="0">
                <a:solidFill>
                  <a:schemeClr val="tx1"/>
                </a:solidFill>
              </a:rPr>
              <a:t>Weighted gSpan</a:t>
            </a:r>
            <a:endParaRPr lang="en-US" sz="4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63600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59769" y="1562100"/>
            <a:ext cx="8077200" cy="403860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200" u="sng" dirty="0"/>
              <a:t>C</a:t>
            </a:r>
            <a:r>
              <a:rPr lang="en-US" sz="3200" u="sng" baseline="-25000" dirty="0"/>
              <a:t>0</a:t>
            </a:r>
            <a:r>
              <a:rPr lang="en-US" sz="3200" u="sng" dirty="0"/>
              <a:t>=</a:t>
            </a:r>
            <a:r>
              <a:rPr lang="el-GR" sz="3200" i="1" u="sng" dirty="0"/>
              <a:t>Φ</a:t>
            </a:r>
            <a:r>
              <a:rPr lang="en-US" sz="3200" i="1" u="sng" dirty="0"/>
              <a:t> </a:t>
            </a:r>
            <a:r>
              <a:rPr lang="en-US" sz="3200" u="sng" dirty="0"/>
              <a:t>Extensions</a:t>
            </a:r>
          </a:p>
          <a:p>
            <a:pPr marL="0" indent="0" algn="ctr">
              <a:buNone/>
            </a:pPr>
            <a:endParaRPr lang="en-US" sz="4600" u="sng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9769" y="2531076"/>
            <a:ext cx="3790950" cy="14704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1800" y="4215022"/>
            <a:ext cx="6457950" cy="17284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8773" y="2531075"/>
            <a:ext cx="4643438" cy="16839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Oval 3"/>
          <p:cNvSpPr/>
          <p:nvPr/>
        </p:nvSpPr>
        <p:spPr>
          <a:xfrm>
            <a:off x="1905000" y="2135658"/>
            <a:ext cx="685800" cy="217272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Oval 7"/>
          <p:cNvSpPr/>
          <p:nvPr/>
        </p:nvSpPr>
        <p:spPr>
          <a:xfrm>
            <a:off x="9220200" y="2362200"/>
            <a:ext cx="609600" cy="1219200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>
                <a:solidFill>
                  <a:prstClr val="white"/>
                </a:solidFill>
                <a:latin typeface="Calibri"/>
              </a:rPr>
              <a:pPr/>
              <a:t>13</a:t>
            </a:fld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523272" y="714349"/>
            <a:ext cx="9145920" cy="540774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 smtClean="0">
                <a:solidFill>
                  <a:schemeClr val="tx1"/>
                </a:solidFill>
              </a:rPr>
              <a:t>Weighted gSpan Cont.</a:t>
            </a:r>
            <a:endParaRPr lang="en-US" sz="4400" b="1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Rectangle 9"/>
              <p:cNvSpPr/>
              <p:nvPr/>
            </p:nvSpPr>
            <p:spPr>
              <a:xfrm>
                <a:off x="2590800" y="5996118"/>
                <a:ext cx="5985813" cy="55085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2000" b="1" i="1" dirty="0" smtClean="0">
                    <a:solidFill>
                      <a:schemeClr val="tx1"/>
                    </a:solidFill>
                  </a:rPr>
                  <a:t>PWS(</a:t>
                </a:r>
                <a:r>
                  <a:rPr lang="en-US" sz="2000" b="1" i="1" dirty="0" err="1" smtClean="0">
                    <a:solidFill>
                      <a:schemeClr val="tx1"/>
                    </a:solidFill>
                  </a:rPr>
                  <a:t>g</a:t>
                </a:r>
                <a:r>
                  <a:rPr lang="en-US" sz="2000" b="1" i="1" baseline="-25000" dirty="0" err="1" smtClean="0">
                    <a:solidFill>
                      <a:schemeClr val="tx1"/>
                    </a:solidFill>
                    <a:sym typeface="Wingdings" panose="05000000000000000000" pitchFamily="2" charset="2"/>
                  </a:rPr>
                  <a:t>m</a:t>
                </a:r>
                <a:r>
                  <a:rPr lang="en-US" sz="2000" b="1" i="1" dirty="0" smtClean="0">
                    <a:solidFill>
                      <a:schemeClr val="tx1"/>
                    </a:solidFill>
                  </a:rPr>
                  <a:t>) </a:t>
                </a:r>
                <a:r>
                  <a:rPr lang="en-US" sz="2000" b="1" i="1" dirty="0">
                    <a:solidFill>
                      <a:schemeClr val="tx1"/>
                    </a:solidFill>
                  </a:rPr>
                  <a:t>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2000" b="1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d>
                          <m:dPr>
                            <m:begChr m:val="|"/>
                            <m:endChr m:val="|"/>
                            <m:ctrlPr>
                              <a:rPr lang="en-US" sz="2000" b="1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2000" b="1" i="1">
                                <a:solidFill>
                                  <a:schemeClr val="tx1"/>
                                </a:solidFill>
                                <a:latin typeface="Cambria Math"/>
                              </a:rPr>
                              <m:t>𝒈</m:t>
                            </m:r>
                          </m:e>
                        </m:d>
                        <m:r>
                          <a:rPr lang="en-US" sz="2000" b="1" i="1">
                            <a:solidFill>
                              <a:schemeClr val="tx1"/>
                            </a:solidFill>
                            <a:latin typeface="Cambria Math"/>
                            <a:ea typeface="Cambria Math"/>
                          </a:rPr>
                          <m:t>×</m:t>
                        </m:r>
                        <m:r>
                          <a:rPr lang="en-US" sz="2000" b="1" i="1">
                            <a:solidFill>
                              <a:schemeClr val="tx1"/>
                            </a:solidFill>
                            <a:latin typeface="Cambria Math"/>
                            <a:ea typeface="Cambria Math"/>
                          </a:rPr>
                          <m:t>𝑾𝒂𝒗𝒈</m:t>
                        </m:r>
                        <m:d>
                          <m:dPr>
                            <m:ctrlPr>
                              <a:rPr lang="en-US" sz="2000" b="1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/>
                              </a:rPr>
                            </m:ctrlPr>
                          </m:dPr>
                          <m:e>
                            <m:r>
                              <a:rPr lang="en-US" sz="2000" b="1" i="1">
                                <a:solidFill>
                                  <a:schemeClr val="tx1"/>
                                </a:solidFill>
                                <a:latin typeface="Cambria Math"/>
                                <a:ea typeface="Cambria Math"/>
                              </a:rPr>
                              <m:t>𝒈</m:t>
                            </m:r>
                          </m:e>
                        </m:d>
                        <m:r>
                          <a:rPr lang="en-US" sz="2000" b="1" i="1">
                            <a:solidFill>
                              <a:schemeClr val="tx1"/>
                            </a:solidFill>
                            <a:latin typeface="Cambria Math"/>
                            <a:ea typeface="Cambria Math"/>
                          </a:rPr>
                          <m:t>+(</m:t>
                        </m:r>
                        <m:r>
                          <a:rPr lang="en-US" sz="2000" b="1" i="1">
                            <a:solidFill>
                              <a:schemeClr val="tx1"/>
                            </a:solidFill>
                            <a:latin typeface="Cambria Math"/>
                            <a:ea typeface="Cambria Math"/>
                          </a:rPr>
                          <m:t>𝒎</m:t>
                        </m:r>
                        <m:r>
                          <a:rPr lang="en-US" sz="2000" b="1" i="1">
                            <a:solidFill>
                              <a:schemeClr val="tx1"/>
                            </a:solidFill>
                            <a:latin typeface="Cambria Math"/>
                            <a:ea typeface="Cambria Math"/>
                          </a:rPr>
                          <m:t>−|</m:t>
                        </m:r>
                        <m:r>
                          <a:rPr lang="en-US" sz="2000" b="1" i="1">
                            <a:solidFill>
                              <a:schemeClr val="tx1"/>
                            </a:solidFill>
                            <a:latin typeface="Cambria Math"/>
                            <a:ea typeface="Cambria Math"/>
                          </a:rPr>
                          <m:t>𝒈</m:t>
                        </m:r>
                        <m:r>
                          <a:rPr lang="en-US" sz="2000" b="1" i="1">
                            <a:solidFill>
                              <a:schemeClr val="tx1"/>
                            </a:solidFill>
                            <a:latin typeface="Cambria Math"/>
                            <a:ea typeface="Cambria Math"/>
                          </a:rPr>
                          <m:t>|)×</m:t>
                        </m:r>
                        <m:r>
                          <a:rPr lang="en-US" sz="2000" b="1" i="1">
                            <a:solidFill>
                              <a:schemeClr val="tx1"/>
                            </a:solidFill>
                            <a:latin typeface="Cambria Math"/>
                            <a:ea typeface="Cambria Math"/>
                          </a:rPr>
                          <m:t>𝑴𝒂𝒙𝑾</m:t>
                        </m:r>
                      </m:num>
                      <m:den>
                        <m:r>
                          <a:rPr lang="en-US" sz="2000" b="1" i="1">
                            <a:solidFill>
                              <a:schemeClr val="tx1"/>
                            </a:solidFill>
                            <a:latin typeface="Cambria Math"/>
                          </a:rPr>
                          <m:t>𝒎</m:t>
                        </m:r>
                      </m:den>
                    </m:f>
                    <m:r>
                      <a:rPr lang="en-US" sz="2000" b="1" i="1">
                        <a:solidFill>
                          <a:schemeClr val="tx1"/>
                        </a:solidFill>
                        <a:latin typeface="Cambria Math"/>
                      </a:rPr>
                      <m:t> </m:t>
                    </m:r>
                    <m:r>
                      <a:rPr lang="en-US" sz="2000" b="1" i="1">
                        <a:solidFill>
                          <a:schemeClr val="tx1"/>
                        </a:solidFill>
                        <a:latin typeface="Cambria Math"/>
                        <a:ea typeface="Cambria Math"/>
                      </a:rPr>
                      <m:t>×</m:t>
                    </m:r>
                    <m:r>
                      <a:rPr lang="en-US" sz="20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/>
                      </a:rPr>
                      <m:t>𝑴𝑷𝑭</m:t>
                    </m:r>
                    <m:r>
                      <a:rPr lang="en-US" sz="20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/>
                      </a:rPr>
                      <m:t>(</m:t>
                    </m:r>
                    <m:r>
                      <a:rPr lang="en-US" sz="20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/>
                      </a:rPr>
                      <m:t>𝒈</m:t>
                    </m:r>
                    <m:r>
                      <a:rPr lang="en-US" sz="2000" b="1" i="1" baseline="-250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/>
                      </a:rPr>
                      <m:t>→</m:t>
                    </m:r>
                    <m:r>
                      <a:rPr lang="en-US" sz="2000" b="1" i="1" baseline="-250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/>
                      </a:rPr>
                      <m:t>𝒎</m:t>
                    </m:r>
                    <m:r>
                      <a:rPr lang="en-US" sz="20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/>
                      </a:rPr>
                      <m:t>)</m:t>
                    </m:r>
                  </m:oMath>
                </a14:m>
                <a:r>
                  <a:rPr lang="en-US" sz="2000" b="1" i="1" baseline="-25000" dirty="0">
                    <a:solidFill>
                      <a:schemeClr val="tx1"/>
                    </a:solidFill>
                  </a:rPr>
                  <a:t> </a:t>
                </a:r>
                <a:endParaRPr lang="en-US" sz="2000" b="1" dirty="0">
                  <a:solidFill>
                    <a:schemeClr val="tx1"/>
                  </a:solidFill>
                </a:endParaRPr>
              </a:p>
            </p:txBody>
          </p:sp>
        </mc:Choice>
        <mc:Fallback>
          <p:sp>
            <p:nvSpPr>
              <p:cNvPr id="10" name="Rectangle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90800" y="5996118"/>
                <a:ext cx="5985813" cy="550856"/>
              </a:xfrm>
              <a:prstGeom prst="rect">
                <a:avLst/>
              </a:prstGeom>
              <a:blipFill>
                <a:blip r:embed="rId5"/>
                <a:stretch>
                  <a:fillRect l="-1018" b="-777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2685661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 animBg="1"/>
      <p:bldP spid="1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57400" y="1913469"/>
            <a:ext cx="8077200" cy="4114799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200" u="sng" dirty="0"/>
              <a:t>C</a:t>
            </a:r>
            <a:r>
              <a:rPr lang="en-US" sz="3200" u="sng" baseline="-25000" dirty="0"/>
              <a:t>0</a:t>
            </a:r>
            <a:r>
              <a:rPr lang="en-US" sz="3200" u="sng" dirty="0"/>
              <a:t> Extensions</a:t>
            </a:r>
          </a:p>
          <a:p>
            <a:pPr marL="0" indent="0" algn="ctr">
              <a:buNone/>
            </a:pPr>
            <a:endParaRPr lang="en-US" sz="4600" u="sng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9769" y="2531076"/>
            <a:ext cx="3790950" cy="14704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8773" y="2531075"/>
            <a:ext cx="4643438" cy="16839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8291" y="4438650"/>
            <a:ext cx="7258050" cy="1276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Oval 3"/>
          <p:cNvSpPr/>
          <p:nvPr/>
        </p:nvSpPr>
        <p:spPr>
          <a:xfrm>
            <a:off x="2416970" y="2438401"/>
            <a:ext cx="631031" cy="1583725"/>
          </a:xfrm>
          <a:prstGeom prst="ellipse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Oval 8"/>
          <p:cNvSpPr/>
          <p:nvPr/>
        </p:nvSpPr>
        <p:spPr>
          <a:xfrm>
            <a:off x="5943600" y="3048001"/>
            <a:ext cx="1219200" cy="516925"/>
          </a:xfrm>
          <a:prstGeom prst="ellipse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Oval 9"/>
          <p:cNvSpPr/>
          <p:nvPr/>
        </p:nvSpPr>
        <p:spPr>
          <a:xfrm rot="2998058">
            <a:off x="6914607" y="2736747"/>
            <a:ext cx="1219200" cy="516925"/>
          </a:xfrm>
          <a:prstGeom prst="ellipse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Oval 10"/>
          <p:cNvSpPr/>
          <p:nvPr/>
        </p:nvSpPr>
        <p:spPr>
          <a:xfrm rot="18282014">
            <a:off x="8255728" y="3284222"/>
            <a:ext cx="1219200" cy="516925"/>
          </a:xfrm>
          <a:prstGeom prst="ellipse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>
                <a:solidFill>
                  <a:prstClr val="white"/>
                </a:solidFill>
                <a:latin typeface="Calibri"/>
              </a:rPr>
              <a:pPr/>
              <a:t>14</a:t>
            </a:fld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523272" y="694468"/>
            <a:ext cx="9145920" cy="560439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 smtClean="0">
                <a:solidFill>
                  <a:schemeClr val="tx1"/>
                </a:solidFill>
              </a:rPr>
              <a:t>Weighted gSpan Cont.</a:t>
            </a:r>
            <a:endParaRPr lang="en-US" sz="4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58865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9" grpId="0" animBg="1"/>
      <p:bldP spid="10" grpId="0" animBg="1"/>
      <p:bldP spid="11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57400" y="1905002"/>
            <a:ext cx="8077200" cy="4114799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200" u="sng" dirty="0"/>
              <a:t>C</a:t>
            </a:r>
            <a:r>
              <a:rPr lang="en-US" sz="3200" u="sng" baseline="-25000" dirty="0"/>
              <a:t>0</a:t>
            </a:r>
            <a:r>
              <a:rPr lang="en-US" sz="3200" u="sng" dirty="0"/>
              <a:t> Extensions</a:t>
            </a:r>
          </a:p>
          <a:p>
            <a:pPr marL="0" indent="0" algn="ctr">
              <a:buNone/>
            </a:pPr>
            <a:endParaRPr lang="en-US" sz="4600" u="sng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9769" y="2531076"/>
            <a:ext cx="3790950" cy="14704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8773" y="2531075"/>
            <a:ext cx="4643438" cy="16839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Oval 3"/>
          <p:cNvSpPr/>
          <p:nvPr/>
        </p:nvSpPr>
        <p:spPr>
          <a:xfrm>
            <a:off x="3352801" y="2438401"/>
            <a:ext cx="631031" cy="1583725"/>
          </a:xfrm>
          <a:prstGeom prst="ellipse">
            <a:avLst/>
          </a:prstGeom>
          <a:noFill/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2362201" y="2438401"/>
            <a:ext cx="631031" cy="1583725"/>
          </a:xfrm>
          <a:prstGeom prst="ellipse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135764" y="4572000"/>
            <a:ext cx="4336828" cy="1077218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en-US" sz="3200" b="1" dirty="0" smtClean="0">
                <a:ln w="11430"/>
                <a:solidFill>
                  <a:srgbClr val="FF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C</a:t>
            </a:r>
            <a:r>
              <a:rPr lang="en-US" sz="3200" b="1" baseline="-25000" dirty="0">
                <a:ln w="11430"/>
                <a:solidFill>
                  <a:srgbClr val="FF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4</a:t>
            </a:r>
            <a:r>
              <a:rPr lang="en-US" sz="3200" b="1" dirty="0" smtClean="0">
                <a:ln w="11430"/>
                <a:solidFill>
                  <a:srgbClr val="FF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Not </a:t>
            </a:r>
            <a:r>
              <a:rPr lang="en-US" sz="3200" b="1" dirty="0">
                <a:ln w="11430"/>
                <a:solidFill>
                  <a:srgbClr val="FF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Canonical</a:t>
            </a:r>
          </a:p>
          <a:p>
            <a:pPr algn="ctr"/>
            <a:r>
              <a:rPr lang="en-US" sz="3200" b="1" dirty="0">
                <a:ln w="11430"/>
                <a:solidFill>
                  <a:srgbClr val="008B8B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Canonical code of it is C</a:t>
            </a:r>
            <a:r>
              <a:rPr lang="en-US" sz="3200" b="1" baseline="-25000" dirty="0">
                <a:ln w="11430"/>
                <a:solidFill>
                  <a:srgbClr val="008B8B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2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>
                <a:solidFill>
                  <a:prstClr val="white"/>
                </a:solidFill>
                <a:latin typeface="Calibri"/>
              </a:rPr>
              <a:pPr/>
              <a:t>15</a:t>
            </a:fld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523272" y="740970"/>
            <a:ext cx="9145920" cy="521110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 smtClean="0">
                <a:solidFill>
                  <a:schemeClr val="tx1"/>
                </a:solidFill>
              </a:rPr>
              <a:t>Weighted gSpan Cont.</a:t>
            </a:r>
            <a:endParaRPr lang="en-US" sz="4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56201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3" grpId="0" animBg="1"/>
      <p:bldP spid="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57400" y="1905002"/>
            <a:ext cx="8077200" cy="4114799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200" u="sng" dirty="0"/>
              <a:t>C</a:t>
            </a:r>
            <a:r>
              <a:rPr lang="en-US" sz="3200" u="sng" baseline="-25000" dirty="0"/>
              <a:t>0</a:t>
            </a:r>
            <a:r>
              <a:rPr lang="en-US" sz="3200" u="sng" dirty="0"/>
              <a:t> Extensions</a:t>
            </a:r>
          </a:p>
          <a:p>
            <a:pPr marL="0" indent="0" algn="ctr">
              <a:buNone/>
            </a:pPr>
            <a:endParaRPr lang="en-US" sz="4600" u="sng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9769" y="2531076"/>
            <a:ext cx="3790950" cy="14704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8773" y="2531075"/>
            <a:ext cx="4643438" cy="16839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Oval 12"/>
          <p:cNvSpPr/>
          <p:nvPr/>
        </p:nvSpPr>
        <p:spPr>
          <a:xfrm>
            <a:off x="2362201" y="2438401"/>
            <a:ext cx="631031" cy="1583725"/>
          </a:xfrm>
          <a:prstGeom prst="ellipse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Oval 8"/>
          <p:cNvSpPr/>
          <p:nvPr/>
        </p:nvSpPr>
        <p:spPr>
          <a:xfrm>
            <a:off x="3810001" y="2438401"/>
            <a:ext cx="631031" cy="1583725"/>
          </a:xfrm>
          <a:prstGeom prst="ellipse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Oval 9"/>
          <p:cNvSpPr/>
          <p:nvPr/>
        </p:nvSpPr>
        <p:spPr>
          <a:xfrm>
            <a:off x="5236370" y="2454876"/>
            <a:ext cx="631031" cy="1583725"/>
          </a:xfrm>
          <a:prstGeom prst="ellipse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2895601" y="2438401"/>
            <a:ext cx="631031" cy="1583725"/>
          </a:xfrm>
          <a:prstGeom prst="ellipse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114799" y="4654034"/>
            <a:ext cx="3259667" cy="369332"/>
          </a:xfrm>
          <a:prstGeom prst="rect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txBody>
          <a:bodyPr wrap="square" rtlCol="0" anchor="ctr" anchorCtr="1">
            <a:spAutoFit/>
          </a:bodyPr>
          <a:lstStyle/>
          <a:p>
            <a:r>
              <a:rPr lang="en-US" dirty="0" err="1" smtClean="0">
                <a:solidFill>
                  <a:prstClr val="black"/>
                </a:solidFill>
                <a:latin typeface="Calibri"/>
              </a:rPr>
              <a:t>Extension</a:t>
            </a:r>
            <a:r>
              <a:rPr lang="en-US" dirty="0" err="1" smtClean="0">
                <a:solidFill>
                  <a:prstClr val="black"/>
                </a:solidFill>
                <a:latin typeface="Calibri"/>
              </a:rPr>
              <a:t>Stack</a:t>
            </a:r>
            <a:r>
              <a:rPr lang="en-US" dirty="0" smtClean="0">
                <a:solidFill>
                  <a:prstClr val="black"/>
                </a:solidFill>
                <a:latin typeface="Calibri"/>
              </a:rPr>
              <a:t> 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= {</a:t>
            </a:r>
            <a:r>
              <a:rPr lang="en-US" dirty="0">
                <a:solidFill>
                  <a:srgbClr val="FF0000"/>
                </a:solidFill>
                <a:latin typeface="Calibri"/>
              </a:rPr>
              <a:t>C</a:t>
            </a:r>
            <a:r>
              <a:rPr lang="en-US" baseline="-25000" dirty="0">
                <a:solidFill>
                  <a:srgbClr val="FF0000"/>
                </a:solidFill>
                <a:latin typeface="Calibri"/>
              </a:rPr>
              <a:t>2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, C</a:t>
            </a:r>
            <a:r>
              <a:rPr lang="en-US" baseline="-25000" dirty="0">
                <a:solidFill>
                  <a:prstClr val="black"/>
                </a:solidFill>
                <a:latin typeface="Calibri"/>
              </a:rPr>
              <a:t>3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, C</a:t>
            </a:r>
            <a:r>
              <a:rPr lang="en-US" baseline="-25000" dirty="0">
                <a:solidFill>
                  <a:prstClr val="black"/>
                </a:solidFill>
                <a:latin typeface="Calibri"/>
              </a:rPr>
              <a:t>5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, C</a:t>
            </a:r>
            <a:r>
              <a:rPr lang="en-US" baseline="-25000" dirty="0">
                <a:solidFill>
                  <a:prstClr val="black"/>
                </a:solidFill>
                <a:latin typeface="Calibri"/>
              </a:rPr>
              <a:t>8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}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>
                <a:solidFill>
                  <a:prstClr val="white"/>
                </a:solidFill>
                <a:latin typeface="Calibri"/>
              </a:rPr>
              <a:pPr/>
              <a:t>16</a:t>
            </a:fld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" name="Flowchart: Connector 14"/>
          <p:cNvSpPr/>
          <p:nvPr/>
        </p:nvSpPr>
        <p:spPr>
          <a:xfrm>
            <a:off x="10058400" y="6384398"/>
            <a:ext cx="494406" cy="493535"/>
          </a:xfrm>
          <a:prstGeom prst="flowChartConnector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23272" y="796215"/>
            <a:ext cx="9145920" cy="462116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 smtClean="0">
                <a:solidFill>
                  <a:schemeClr val="tx1"/>
                </a:solidFill>
              </a:rPr>
              <a:t>Weighted gSpan Cont.</a:t>
            </a:r>
            <a:endParaRPr lang="en-US" sz="4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80136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9" grpId="0" animBg="1"/>
      <p:bldP spid="10" grpId="0" animBg="1"/>
      <p:bldP spid="11" grpId="0" animBg="1"/>
      <p:bldP spid="1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57400" y="1905002"/>
            <a:ext cx="8077200" cy="4114799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200" u="sng" dirty="0"/>
              <a:t>C</a:t>
            </a:r>
            <a:r>
              <a:rPr lang="en-US" sz="3200" u="sng" baseline="-25000" dirty="0"/>
              <a:t>2</a:t>
            </a:r>
            <a:r>
              <a:rPr lang="en-US" sz="3200" u="sng" dirty="0"/>
              <a:t> Extensions</a:t>
            </a:r>
          </a:p>
          <a:p>
            <a:pPr marL="0" indent="0" algn="ctr">
              <a:buNone/>
            </a:pPr>
            <a:endParaRPr lang="en-US" sz="4600" u="sng" dirty="0"/>
          </a:p>
        </p:txBody>
      </p:sp>
      <p:sp>
        <p:nvSpPr>
          <p:cNvPr id="14" name="TextBox 13"/>
          <p:cNvSpPr txBox="1"/>
          <p:nvPr/>
        </p:nvSpPr>
        <p:spPr>
          <a:xfrm>
            <a:off x="4821195" y="5769231"/>
            <a:ext cx="3239072" cy="369332"/>
          </a:xfrm>
          <a:prstGeom prst="rect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txBody>
          <a:bodyPr wrap="square" rtlCol="0" anchor="ctr" anchorCtr="1">
            <a:spAutoFit/>
          </a:bodyPr>
          <a:lstStyle/>
          <a:p>
            <a:r>
              <a:rPr lang="en-US" dirty="0" err="1">
                <a:solidFill>
                  <a:prstClr val="black"/>
                </a:solidFill>
              </a:rPr>
              <a:t>ExtensionStack</a:t>
            </a:r>
            <a:r>
              <a:rPr lang="en-US" dirty="0" smtClean="0">
                <a:solidFill>
                  <a:prstClr val="black"/>
                </a:solidFill>
                <a:latin typeface="Calibri"/>
              </a:rPr>
              <a:t> 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= {</a:t>
            </a:r>
            <a:r>
              <a:rPr lang="en-US" dirty="0">
                <a:solidFill>
                  <a:srgbClr val="FF0000"/>
                </a:solidFill>
                <a:latin typeface="Calibri"/>
              </a:rPr>
              <a:t>C</a:t>
            </a:r>
            <a:r>
              <a:rPr lang="en-US" baseline="-25000" dirty="0">
                <a:solidFill>
                  <a:srgbClr val="FF0000"/>
                </a:solidFill>
                <a:latin typeface="Calibri"/>
              </a:rPr>
              <a:t>10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, C</a:t>
            </a:r>
            <a:r>
              <a:rPr lang="en-US" baseline="-25000" dirty="0">
                <a:solidFill>
                  <a:prstClr val="black"/>
                </a:solidFill>
                <a:latin typeface="Calibri"/>
              </a:rPr>
              <a:t>3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, C</a:t>
            </a:r>
            <a:r>
              <a:rPr lang="en-US" baseline="-25000" dirty="0">
                <a:solidFill>
                  <a:prstClr val="black"/>
                </a:solidFill>
                <a:latin typeface="Calibri"/>
              </a:rPr>
              <a:t>5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, C</a:t>
            </a:r>
            <a:r>
              <a:rPr lang="en-US" baseline="-25000" dirty="0">
                <a:solidFill>
                  <a:prstClr val="black"/>
                </a:solidFill>
                <a:latin typeface="Calibri"/>
              </a:rPr>
              <a:t>8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}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2227939"/>
            <a:ext cx="2133600" cy="3183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615" y="2438400"/>
            <a:ext cx="760965" cy="274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ight Arrow 3"/>
          <p:cNvSpPr/>
          <p:nvPr/>
        </p:nvSpPr>
        <p:spPr>
          <a:xfrm>
            <a:off x="5105400" y="3200400"/>
            <a:ext cx="1905000" cy="457200"/>
          </a:xfrm>
          <a:prstGeom prst="rightArrow">
            <a:avLst/>
          </a:prstGeom>
          <a:solidFill>
            <a:srgbClr val="008B8B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>
                <a:solidFill>
                  <a:prstClr val="white"/>
                </a:solidFill>
                <a:latin typeface="Calibri"/>
              </a:rPr>
              <a:pPr/>
              <a:t>17</a:t>
            </a:fld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523040" y="696864"/>
            <a:ext cx="9145920" cy="560439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 smtClean="0">
                <a:solidFill>
                  <a:schemeClr val="tx1"/>
                </a:solidFill>
              </a:rPr>
              <a:t>Weighted gSpan Cont.</a:t>
            </a:r>
            <a:endParaRPr lang="en-US" sz="4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399606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40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4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57400" y="1905002"/>
            <a:ext cx="8077200" cy="4114799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200" u="sng" dirty="0"/>
              <a:t>C</a:t>
            </a:r>
            <a:r>
              <a:rPr lang="en-US" sz="3200" u="sng" baseline="-25000" dirty="0"/>
              <a:t>10</a:t>
            </a:r>
            <a:r>
              <a:rPr lang="en-US" sz="3200" u="sng" dirty="0"/>
              <a:t> Extensions</a:t>
            </a:r>
          </a:p>
          <a:p>
            <a:pPr marL="0" indent="0" algn="ctr">
              <a:buNone/>
            </a:pPr>
            <a:endParaRPr lang="en-US" sz="4600" u="sng" dirty="0"/>
          </a:p>
        </p:txBody>
      </p:sp>
      <p:sp>
        <p:nvSpPr>
          <p:cNvPr id="14" name="TextBox 13"/>
          <p:cNvSpPr txBox="1"/>
          <p:nvPr/>
        </p:nvSpPr>
        <p:spPr>
          <a:xfrm>
            <a:off x="4821195" y="5763397"/>
            <a:ext cx="2819400" cy="381000"/>
          </a:xfrm>
          <a:prstGeom prst="rect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txBody>
          <a:bodyPr wrap="square" rtlCol="0" anchor="ctr" anchorCtr="1">
            <a:spAutoFit/>
          </a:bodyPr>
          <a:lstStyle/>
          <a:p>
            <a:r>
              <a:rPr lang="en-US" dirty="0" err="1">
                <a:solidFill>
                  <a:prstClr val="black"/>
                </a:solidFill>
              </a:rPr>
              <a:t>ExtensionStack</a:t>
            </a:r>
            <a:r>
              <a:rPr lang="en-US" dirty="0" smtClean="0">
                <a:solidFill>
                  <a:prstClr val="black"/>
                </a:solidFill>
                <a:latin typeface="Calibri"/>
              </a:rPr>
              <a:t> 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= {C</a:t>
            </a:r>
            <a:r>
              <a:rPr lang="en-US" baseline="-25000" dirty="0">
                <a:solidFill>
                  <a:prstClr val="black"/>
                </a:solidFill>
                <a:latin typeface="Calibri"/>
              </a:rPr>
              <a:t>3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, C</a:t>
            </a:r>
            <a:r>
              <a:rPr lang="en-US" baseline="-25000" dirty="0">
                <a:solidFill>
                  <a:prstClr val="black"/>
                </a:solidFill>
                <a:latin typeface="Calibri"/>
              </a:rPr>
              <a:t>5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, C</a:t>
            </a:r>
            <a:r>
              <a:rPr lang="en-US" baseline="-25000" dirty="0">
                <a:solidFill>
                  <a:prstClr val="black"/>
                </a:solidFill>
                <a:latin typeface="Calibri"/>
              </a:rPr>
              <a:t>8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}</a:t>
            </a:r>
          </a:p>
        </p:txBody>
      </p:sp>
      <p:sp>
        <p:nvSpPr>
          <p:cNvPr id="4" name="Right Arrow 3"/>
          <p:cNvSpPr/>
          <p:nvPr/>
        </p:nvSpPr>
        <p:spPr>
          <a:xfrm>
            <a:off x="4572000" y="3276600"/>
            <a:ext cx="1447800" cy="381000"/>
          </a:xfrm>
          <a:prstGeom prst="rightArrow">
            <a:avLst/>
          </a:prstGeom>
          <a:solidFill>
            <a:srgbClr val="008B8B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7000" y="2514601"/>
            <a:ext cx="1754866" cy="273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7952" y="2895600"/>
            <a:ext cx="4434608" cy="24026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6" name="Straight Arrow Connector 5"/>
          <p:cNvCxnSpPr/>
          <p:nvPr/>
        </p:nvCxnSpPr>
        <p:spPr>
          <a:xfrm flipH="1">
            <a:off x="7467601" y="3467101"/>
            <a:ext cx="731911" cy="800099"/>
          </a:xfrm>
          <a:prstGeom prst="straightConnector1">
            <a:avLst/>
          </a:prstGeom>
          <a:ln w="28575">
            <a:solidFill>
              <a:srgbClr val="008B8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 flipH="1" flipV="1">
            <a:off x="6477000" y="3581400"/>
            <a:ext cx="533400" cy="553996"/>
          </a:xfrm>
          <a:prstGeom prst="straightConnector1">
            <a:avLst/>
          </a:prstGeom>
          <a:ln w="28575">
            <a:solidFill>
              <a:srgbClr val="008B8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6230895" y="3467101"/>
            <a:ext cx="0" cy="800099"/>
          </a:xfrm>
          <a:prstGeom prst="straightConnector1">
            <a:avLst/>
          </a:prstGeom>
          <a:ln w="28575">
            <a:solidFill>
              <a:srgbClr val="008B8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6230895" y="2664767"/>
            <a:ext cx="1968616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en-US" sz="2400" b="1" dirty="0">
                <a:ln w="11430"/>
                <a:solidFill>
                  <a:srgbClr val="FF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Not Canonic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>
                <a:solidFill>
                  <a:prstClr val="white"/>
                </a:solidFill>
                <a:latin typeface="Calibri"/>
              </a:rPr>
              <a:pPr/>
              <a:t>18</a:t>
            </a:fld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" name="Flowchart: Connector 14"/>
          <p:cNvSpPr/>
          <p:nvPr/>
        </p:nvSpPr>
        <p:spPr>
          <a:xfrm>
            <a:off x="10058400" y="6384398"/>
            <a:ext cx="494406" cy="493535"/>
          </a:xfrm>
          <a:prstGeom prst="flowChartConnector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523272" y="810419"/>
            <a:ext cx="9145920" cy="452284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 smtClean="0">
                <a:solidFill>
                  <a:schemeClr val="tx1"/>
                </a:solidFill>
              </a:rPr>
              <a:t>Weighted gSpan Cont.</a:t>
            </a:r>
            <a:endParaRPr lang="en-US" sz="4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45745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5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5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4" grpId="0" animBg="1"/>
      <p:bldP spid="1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57400" y="1905002"/>
            <a:ext cx="8077200" cy="4114799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en-US" sz="2400" dirty="0" smtClean="0"/>
              <a:t>After </a:t>
            </a:r>
            <a:r>
              <a:rPr lang="en-US" sz="2400" dirty="0"/>
              <a:t>completing the simulation we will get 14 weighted frequent subgraphs.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2038" y="3200400"/>
            <a:ext cx="4724400" cy="270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>
                <a:solidFill>
                  <a:prstClr val="white"/>
                </a:solidFill>
                <a:latin typeface="Calibri"/>
              </a:rPr>
              <a:pPr/>
              <a:t>19</a:t>
            </a:fld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Flowchart: Connector 6"/>
          <p:cNvSpPr/>
          <p:nvPr/>
        </p:nvSpPr>
        <p:spPr>
          <a:xfrm>
            <a:off x="10058400" y="6384398"/>
            <a:ext cx="494406" cy="493535"/>
          </a:xfrm>
          <a:prstGeom prst="flowChartConnector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solidFill>
                <a:prstClr val="white"/>
              </a:solidFill>
              <a:latin typeface="Calibri"/>
            </a:endParaRPr>
          </a:p>
          <a:p>
            <a:pPr algn="ctr"/>
            <a:endParaRPr lang="en-US" sz="12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23272" y="785355"/>
            <a:ext cx="9145920" cy="471948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 smtClean="0">
                <a:solidFill>
                  <a:schemeClr val="tx1"/>
                </a:solidFill>
              </a:rPr>
              <a:t>Weighted gSpan Cont.</a:t>
            </a:r>
            <a:endParaRPr lang="en-US" sz="4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16674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00B3D2B-613A-41BE-987D-E6A1324B45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123" y="184638"/>
            <a:ext cx="11060723" cy="1739900"/>
          </a:xfrm>
        </p:spPr>
        <p:txBody>
          <a:bodyPr>
            <a:normAutofit/>
          </a:bodyPr>
          <a:lstStyle/>
          <a:p>
            <a:pPr algn="ctr"/>
            <a:r>
              <a:rPr lang="en-US" sz="2800" spc="-150" dirty="0" smtClean="0">
                <a:latin typeface="Arial Black" panose="020B0A04020102020204" pitchFamily="34" charset="0"/>
              </a:rPr>
              <a:t>Presented By                                   supervisor                              </a:t>
            </a:r>
            <a:endParaRPr lang="en-ZA" sz="2800" spc="-150" dirty="0">
              <a:latin typeface="Arial Black" panose="020B0A040201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77040" y="2927839"/>
            <a:ext cx="4158511" cy="290848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lnSpc>
                <a:spcPts val="1000"/>
              </a:lnSpc>
            </a:pPr>
            <a:r>
              <a:rPr lang="en-US" sz="12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16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en-US" sz="2800" b="1" dirty="0" err="1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Faddilin</a:t>
            </a:r>
            <a:r>
              <a:rPr lang="en-US" sz="2800" b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hady</a:t>
            </a:r>
            <a:r>
              <a:rPr lang="en-US" sz="2800" b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iniyad</a:t>
            </a:r>
            <a:endParaRPr lang="en-US" sz="2800" b="1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ts val="650"/>
              </a:lnSpc>
              <a:spcBef>
                <a:spcPts val="20"/>
              </a:spcBef>
            </a:pPr>
            <a:endParaRPr lang="en-US" sz="800" dirty="0">
              <a:solidFill>
                <a:prstClr val="black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ts val="650"/>
              </a:lnSpc>
              <a:spcBef>
                <a:spcPts val="20"/>
              </a:spcBef>
            </a:pPr>
            <a:endParaRPr lang="en-US" sz="800" b="1" dirty="0">
              <a:solidFill>
                <a:prstClr val="black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ts val="650"/>
              </a:lnSpc>
              <a:spcBef>
                <a:spcPts val="20"/>
              </a:spcBef>
            </a:pPr>
            <a:endParaRPr lang="en-US" sz="800" b="1" dirty="0">
              <a:solidFill>
                <a:prstClr val="black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ts val="650"/>
              </a:lnSpc>
              <a:spcBef>
                <a:spcPts val="20"/>
              </a:spcBef>
            </a:pPr>
            <a:r>
              <a:rPr lang="en-US" sz="20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:</a:t>
            </a:r>
            <a:r>
              <a:rPr lang="en-US" sz="2000" b="1" spc="160" dirty="0" smtClean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015–2–60–055</a:t>
            </a:r>
            <a:endParaRPr lang="en-US" sz="20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ts val="1000"/>
              </a:lnSpc>
            </a:pPr>
            <a:endParaRPr lang="en-US" sz="1200" dirty="0">
              <a:solidFill>
                <a:prstClr val="black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ts val="1000"/>
              </a:lnSpc>
            </a:pPr>
            <a:endParaRPr lang="en-US" sz="1200" b="1" dirty="0">
              <a:solidFill>
                <a:prstClr val="black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ts val="1000"/>
              </a:lnSpc>
            </a:pPr>
            <a:endParaRPr lang="en-US" sz="1200" b="1" dirty="0">
              <a:solidFill>
                <a:prstClr val="black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ts val="1000"/>
              </a:lnSpc>
            </a:pPr>
            <a:r>
              <a:rPr lang="en-US" sz="28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Mohammad </a:t>
            </a:r>
            <a:r>
              <a:rPr lang="en-US" sz="2800" b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ohag Rana</a:t>
            </a:r>
          </a:p>
          <a:p>
            <a:pPr lvl="0">
              <a:lnSpc>
                <a:spcPts val="650"/>
              </a:lnSpc>
              <a:spcBef>
                <a:spcPts val="20"/>
              </a:spcBef>
            </a:pPr>
            <a:endParaRPr lang="en-US" sz="800" dirty="0">
              <a:solidFill>
                <a:prstClr val="black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ts val="650"/>
              </a:lnSpc>
              <a:spcBef>
                <a:spcPts val="20"/>
              </a:spcBef>
            </a:pPr>
            <a:endParaRPr lang="en-US" sz="800" b="1" dirty="0">
              <a:solidFill>
                <a:prstClr val="black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ts val="650"/>
              </a:lnSpc>
              <a:spcBef>
                <a:spcPts val="20"/>
              </a:spcBef>
            </a:pPr>
            <a:endParaRPr lang="en-US" sz="800" b="1" dirty="0">
              <a:solidFill>
                <a:prstClr val="black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ts val="650"/>
              </a:lnSpc>
              <a:spcBef>
                <a:spcPts val="20"/>
              </a:spcBef>
            </a:pPr>
            <a:r>
              <a:rPr lang="en-US" sz="20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2000" b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2015–2–60–074</a:t>
            </a:r>
          </a:p>
          <a:p>
            <a:pPr lvl="0">
              <a:lnSpc>
                <a:spcPts val="1000"/>
              </a:lnSpc>
            </a:pPr>
            <a:endParaRPr lang="en-US" sz="12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ts val="1000"/>
              </a:lnSpc>
            </a:pPr>
            <a:endParaRPr lang="en-US" sz="1200" b="1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ts val="1000"/>
              </a:lnSpc>
            </a:pPr>
            <a:endParaRPr lang="en-US" sz="1200" b="1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ts val="1000"/>
              </a:lnSpc>
            </a:pPr>
            <a:r>
              <a:rPr lang="en-US" sz="2800" b="1" dirty="0" err="1" smtClean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aghib</a:t>
            </a:r>
            <a:r>
              <a:rPr lang="en-US" sz="28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b="1" dirty="0" err="1" smtClean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hahriyer</a:t>
            </a:r>
            <a:endParaRPr lang="en-US" sz="2800" b="1" dirty="0">
              <a:solidFill>
                <a:prstClr val="black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ts val="1000"/>
              </a:lnSpc>
            </a:pPr>
            <a:endParaRPr lang="en-US" sz="2800" b="1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ts val="1000"/>
              </a:lnSpc>
            </a:pPr>
            <a:endParaRPr lang="en-US" sz="2800" b="1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ts val="1000"/>
              </a:lnSpc>
            </a:pPr>
            <a:r>
              <a:rPr lang="en-US" sz="20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en-US" sz="2000" b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2015–2–60–076</a:t>
            </a:r>
          </a:p>
          <a:p>
            <a:pPr lvl="0">
              <a:lnSpc>
                <a:spcPts val="1000"/>
              </a:lnSpc>
            </a:pPr>
            <a:endParaRPr lang="en-US" sz="16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942806" y="3019278"/>
            <a:ext cx="5249194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/>
            <a:r>
              <a:rPr lang="en-US" sz="2800" b="1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Jesan </a:t>
            </a:r>
            <a:r>
              <a:rPr lang="en-US" sz="2800" b="1" dirty="0" err="1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hammed</a:t>
            </a:r>
            <a:r>
              <a:rPr lang="en-US" sz="2800" b="1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Ovi</a:t>
            </a:r>
            <a:endParaRPr lang="en-US" sz="2800" b="1" dirty="0">
              <a:solidFill>
                <a:prstClr val="black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40385" lvl="0" indent="-467360" algn="ctr"/>
            <a:r>
              <a:rPr lang="en-US" sz="2800" b="1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b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cturer</a:t>
            </a:r>
          </a:p>
          <a:p>
            <a:pPr marL="540385" lvl="0" indent="-467360" algn="ctr"/>
            <a:r>
              <a:rPr lang="en-US" b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partment of Computer Science and Engineering</a:t>
            </a:r>
          </a:p>
          <a:p>
            <a:pPr marL="540385" lvl="0" indent="-467360" algn="ctr"/>
            <a:r>
              <a:rPr lang="en-US" b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ast West University</a:t>
            </a:r>
          </a:p>
          <a:p>
            <a:pPr lvl="0" algn="ctr"/>
            <a:endParaRPr lang="en-US" sz="2800" b="1" dirty="0">
              <a:solidFill>
                <a:prstClr val="black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7262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39788" y="355600"/>
            <a:ext cx="10515600" cy="1325563"/>
          </a:xfrm>
        </p:spPr>
        <p:txBody>
          <a:bodyPr/>
          <a:lstStyle/>
          <a:p>
            <a:pPr algn="ctr"/>
            <a:r>
              <a:rPr lang="en-US" b="1" dirty="0"/>
              <a:t>Data </a:t>
            </a:r>
            <a:r>
              <a:rPr lang="en-US" b="1" dirty="0" smtClean="0"/>
              <a:t>Description</a:t>
            </a:r>
            <a:endParaRPr lang="en-US" b="1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839786" y="1813482"/>
            <a:ext cx="5157787" cy="823912"/>
          </a:xfrm>
        </p:spPr>
        <p:txBody>
          <a:bodyPr/>
          <a:lstStyle/>
          <a:p>
            <a:r>
              <a:rPr lang="en-US" dirty="0"/>
              <a:t>Goodware</a:t>
            </a:r>
            <a:r>
              <a:rPr lang="en-US" dirty="0" smtClean="0"/>
              <a:t>: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half" idx="2"/>
          </p:nvPr>
        </p:nvSpPr>
        <p:spPr>
          <a:xfrm>
            <a:off x="839787" y="2798525"/>
            <a:ext cx="5157787" cy="3684588"/>
          </a:xfrm>
        </p:spPr>
        <p:txBody>
          <a:bodyPr>
            <a:noAutofit/>
          </a:bodyPr>
          <a:lstStyle/>
          <a:p>
            <a:pPr lvl="0"/>
            <a:r>
              <a:rPr lang="en-US" sz="2400" dirty="0" smtClean="0"/>
              <a:t>Number </a:t>
            </a:r>
            <a:r>
              <a:rPr lang="en-US" sz="2400" dirty="0"/>
              <a:t>of graphs : 546</a:t>
            </a:r>
          </a:p>
          <a:p>
            <a:pPr lvl="0"/>
            <a:r>
              <a:rPr lang="en-US" sz="2400" dirty="0"/>
              <a:t>Mean number of nodes : 648.1</a:t>
            </a:r>
          </a:p>
          <a:p>
            <a:pPr lvl="0"/>
            <a:r>
              <a:rPr lang="en-US" sz="2400" dirty="0"/>
              <a:t>Mean degree : 3.3</a:t>
            </a:r>
          </a:p>
          <a:p>
            <a:pPr lvl="0"/>
            <a:r>
              <a:rPr lang="en-US" sz="2400" dirty="0" smtClean="0"/>
              <a:t>Maximum </a:t>
            </a:r>
            <a:r>
              <a:rPr lang="en-US" sz="2400" dirty="0"/>
              <a:t>degree : </a:t>
            </a:r>
            <a:r>
              <a:rPr lang="en-US" sz="2400" dirty="0" smtClean="0"/>
              <a:t>10</a:t>
            </a:r>
            <a:endParaRPr lang="en-US" sz="2400" dirty="0"/>
          </a:p>
          <a:p>
            <a:pPr lvl="0"/>
            <a:r>
              <a:rPr lang="en-US" sz="2400" dirty="0"/>
              <a:t>Number of isolated nodes : 130812</a:t>
            </a:r>
          </a:p>
          <a:p>
            <a:pPr lvl="0"/>
            <a:r>
              <a:rPr lang="en-US" sz="2400" dirty="0"/>
              <a:t>Mean of isolated nodes : 239.6</a:t>
            </a:r>
          </a:p>
          <a:p>
            <a:pPr lvl="0"/>
            <a:r>
              <a:rPr lang="en-US" sz="2400" dirty="0"/>
              <a:t>Number of self-loops : 0</a:t>
            </a:r>
          </a:p>
          <a:p>
            <a:endParaRPr lang="en-US" sz="240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3"/>
          </p:nvPr>
        </p:nvSpPr>
        <p:spPr>
          <a:xfrm>
            <a:off x="6172200" y="1813482"/>
            <a:ext cx="5183188" cy="823912"/>
          </a:xfrm>
        </p:spPr>
        <p:txBody>
          <a:bodyPr/>
          <a:lstStyle/>
          <a:p>
            <a:r>
              <a:rPr lang="en-US" dirty="0" smtClean="0"/>
              <a:t>Malware: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6172200" y="2798525"/>
            <a:ext cx="5183188" cy="3684588"/>
          </a:xfrm>
        </p:spPr>
        <p:txBody>
          <a:bodyPr>
            <a:normAutofit/>
          </a:bodyPr>
          <a:lstStyle/>
          <a:p>
            <a:pPr lvl="0"/>
            <a:r>
              <a:rPr lang="en-US" sz="2400" dirty="0"/>
              <a:t>Number of graphs : 815</a:t>
            </a:r>
          </a:p>
          <a:p>
            <a:pPr lvl="0"/>
            <a:r>
              <a:rPr lang="en-US" sz="2400" dirty="0"/>
              <a:t>Mean number of nodes : 871.5</a:t>
            </a:r>
          </a:p>
          <a:p>
            <a:pPr lvl="0"/>
            <a:r>
              <a:rPr lang="en-US" sz="2400" dirty="0"/>
              <a:t>Mean degree : 3.6</a:t>
            </a:r>
          </a:p>
          <a:p>
            <a:pPr lvl="0"/>
            <a:r>
              <a:rPr lang="en-US" sz="2400" dirty="0" smtClean="0"/>
              <a:t>Maximum </a:t>
            </a:r>
            <a:r>
              <a:rPr lang="en-US" sz="2400" dirty="0"/>
              <a:t>degree : </a:t>
            </a:r>
            <a:r>
              <a:rPr lang="en-US" sz="2400" dirty="0" smtClean="0"/>
              <a:t>34</a:t>
            </a:r>
            <a:endParaRPr lang="en-US" sz="2400" dirty="0"/>
          </a:p>
          <a:p>
            <a:pPr lvl="0"/>
            <a:r>
              <a:rPr lang="en-US" sz="2400" dirty="0"/>
              <a:t>Number of isolated nodes : 231990</a:t>
            </a:r>
          </a:p>
          <a:p>
            <a:pPr lvl="0"/>
            <a:r>
              <a:rPr lang="en-US" sz="2400" dirty="0"/>
              <a:t>Mean of isolated nodes : 284.7</a:t>
            </a:r>
          </a:p>
          <a:p>
            <a:pPr lvl="0"/>
            <a:r>
              <a:rPr lang="en-US" sz="2400" dirty="0"/>
              <a:t>Number of self-loops : 0</a:t>
            </a:r>
          </a:p>
          <a:p>
            <a:endParaRPr lang="en-US" sz="2400" dirty="0"/>
          </a:p>
        </p:txBody>
      </p:sp>
      <p:sp>
        <p:nvSpPr>
          <p:cNvPr id="2" name="TextBox 1"/>
          <p:cNvSpPr txBox="1"/>
          <p:nvPr/>
        </p:nvSpPr>
        <p:spPr>
          <a:xfrm>
            <a:off x="9931401" y="1493752"/>
            <a:ext cx="6174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>
                <a:hlinkClick r:id="rId2"/>
              </a:rPr>
              <a:t>Link</a:t>
            </a:r>
            <a:endParaRPr lang="en-US" sz="1600" dirty="0">
              <a:solidFill>
                <a:srgbClr val="008B8B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39787" y="1493752"/>
            <a:ext cx="90916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ource: </a:t>
            </a:r>
            <a:r>
              <a:rPr lang="en-US" b="1" dirty="0" err="1" smtClean="0"/>
              <a:t>Quarkslab</a:t>
            </a:r>
            <a:r>
              <a:rPr lang="en-US" b="1" dirty="0" smtClean="0"/>
              <a:t> , a </a:t>
            </a:r>
            <a:r>
              <a:rPr lang="en-US" b="1" dirty="0" smtClean="0"/>
              <a:t>company </a:t>
            </a:r>
            <a:r>
              <a:rPr lang="en-US" b="1" dirty="0"/>
              <a:t>which provides </a:t>
            </a:r>
            <a:r>
              <a:rPr lang="en-US" b="1" dirty="0" smtClean="0"/>
              <a:t>vulnerability research </a:t>
            </a:r>
            <a:r>
              <a:rPr lang="en-US" b="1" dirty="0"/>
              <a:t>and </a:t>
            </a:r>
            <a:r>
              <a:rPr lang="en-US" b="1" dirty="0" smtClean="0"/>
              <a:t>reverse engineering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742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85" y="168654"/>
            <a:ext cx="5369207" cy="1325563"/>
          </a:xfrm>
        </p:spPr>
        <p:txBody>
          <a:bodyPr/>
          <a:lstStyle/>
          <a:p>
            <a:r>
              <a:rPr lang="en-US" b="1" dirty="0" smtClean="0"/>
              <a:t>Data Description Cont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6922" y="1899768"/>
            <a:ext cx="5816600" cy="4351338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en-US" dirty="0" smtClean="0"/>
              <a:t>t # 0</a:t>
            </a:r>
          </a:p>
          <a:p>
            <a:pPr marL="0" indent="0">
              <a:buNone/>
            </a:pPr>
            <a:r>
              <a:rPr lang="en-US" dirty="0" smtClean="0"/>
              <a:t>v 0 </a:t>
            </a:r>
            <a:r>
              <a:rPr lang="en-US" dirty="0" err="1"/>
              <a:t>L_leacallmovsub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v </a:t>
            </a:r>
            <a:r>
              <a:rPr lang="en-US" dirty="0"/>
              <a:t>1 </a:t>
            </a:r>
            <a:r>
              <a:rPr lang="en-US" dirty="0" err="1"/>
              <a:t>L_xorcallmovcmp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v 2 </a:t>
            </a:r>
            <a:r>
              <a:rPr lang="en-US" dirty="0" err="1"/>
              <a:t>L_addcallmov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V 3 </a:t>
            </a:r>
            <a:r>
              <a:rPr lang="en-US" dirty="0" err="1"/>
              <a:t>L_pushleaxormovcall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.</a:t>
            </a:r>
          </a:p>
          <a:p>
            <a:pPr marL="0" indent="0">
              <a:buNone/>
            </a:pPr>
            <a:r>
              <a:rPr lang="en-US" dirty="0"/>
              <a:t>.</a:t>
            </a:r>
            <a:endParaRPr lang="en-US" dirty="0" smtClean="0"/>
          </a:p>
          <a:p>
            <a:pPr marL="0" indent="0">
              <a:buNone/>
            </a:pPr>
            <a:r>
              <a:rPr lang="es-ES" dirty="0" smtClean="0"/>
              <a:t>e </a:t>
            </a:r>
            <a:r>
              <a:rPr lang="es-ES" dirty="0"/>
              <a:t>0</a:t>
            </a:r>
            <a:r>
              <a:rPr lang="es-ES" dirty="0" smtClean="0"/>
              <a:t> </a:t>
            </a:r>
            <a:r>
              <a:rPr lang="es-ES" dirty="0"/>
              <a:t>1</a:t>
            </a:r>
            <a:r>
              <a:rPr lang="es-ES" dirty="0" smtClean="0"/>
              <a:t> </a:t>
            </a:r>
            <a:r>
              <a:rPr lang="es-ES" dirty="0"/>
              <a:t>el </a:t>
            </a:r>
            <a:r>
              <a:rPr lang="es-ES" dirty="0" smtClean="0"/>
              <a:t>16</a:t>
            </a:r>
            <a:endParaRPr lang="es-ES" dirty="0"/>
          </a:p>
          <a:p>
            <a:pPr marL="0" indent="0">
              <a:buNone/>
            </a:pPr>
            <a:r>
              <a:rPr lang="es-ES" dirty="0"/>
              <a:t>e </a:t>
            </a:r>
            <a:r>
              <a:rPr lang="es-ES" dirty="0" smtClean="0"/>
              <a:t>1 2 </a:t>
            </a:r>
            <a:r>
              <a:rPr lang="es-ES" dirty="0"/>
              <a:t>el </a:t>
            </a:r>
            <a:r>
              <a:rPr lang="es-ES" dirty="0" smtClean="0"/>
              <a:t>29</a:t>
            </a:r>
            <a:endParaRPr lang="es-ES" dirty="0"/>
          </a:p>
          <a:p>
            <a:pPr marL="0" indent="0">
              <a:buNone/>
            </a:pPr>
            <a:r>
              <a:rPr lang="es-ES" dirty="0"/>
              <a:t>e </a:t>
            </a:r>
            <a:r>
              <a:rPr lang="es-ES" dirty="0" smtClean="0"/>
              <a:t>2 3 </a:t>
            </a:r>
            <a:r>
              <a:rPr lang="es-ES" dirty="0"/>
              <a:t>el </a:t>
            </a:r>
            <a:r>
              <a:rPr lang="es-ES" dirty="0" smtClean="0"/>
              <a:t>18</a:t>
            </a:r>
            <a:endParaRPr lang="es-ES" dirty="0"/>
          </a:p>
          <a:p>
            <a:pPr marL="0" indent="0">
              <a:buNone/>
            </a:pPr>
            <a:r>
              <a:rPr lang="en-US" dirty="0" smtClean="0"/>
              <a:t>.</a:t>
            </a:r>
          </a:p>
          <a:p>
            <a:pPr marL="0" indent="0">
              <a:buNone/>
            </a:pPr>
            <a:r>
              <a:rPr lang="en-US" dirty="0" smtClean="0"/>
              <a:t>.</a:t>
            </a:r>
          </a:p>
          <a:p>
            <a:pPr marL="0" indent="0">
              <a:buNone/>
            </a:pPr>
            <a:r>
              <a:rPr lang="en-US" dirty="0"/>
              <a:t>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63833" y="1305411"/>
            <a:ext cx="4368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Example Data :   </a:t>
            </a:r>
            <a:endParaRPr lang="en-US" sz="2000" b="1" dirty="0"/>
          </a:p>
        </p:txBody>
      </p:sp>
      <p:sp>
        <p:nvSpPr>
          <p:cNvPr id="13" name="Rectangle 12"/>
          <p:cNvSpPr/>
          <p:nvPr/>
        </p:nvSpPr>
        <p:spPr>
          <a:xfrm>
            <a:off x="8835081" y="678249"/>
            <a:ext cx="2248930" cy="433859"/>
          </a:xfrm>
          <a:prstGeom prst="rect">
            <a:avLst/>
          </a:prstGeom>
          <a:solidFill>
            <a:srgbClr val="008B8B"/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L_leacallmovsub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6654800" y="2003812"/>
            <a:ext cx="2248930" cy="433859"/>
          </a:xfrm>
          <a:prstGeom prst="rect">
            <a:avLst/>
          </a:prstGeom>
          <a:solidFill>
            <a:srgbClr val="008B8B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L_xorcallmovcmp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9811265" y="2003812"/>
            <a:ext cx="2248930" cy="433859"/>
          </a:xfrm>
          <a:prstGeom prst="rect">
            <a:avLst/>
          </a:prstGeom>
          <a:solidFill>
            <a:srgbClr val="008B8B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L_callmovcmp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6654800" y="3432563"/>
            <a:ext cx="2248930" cy="433859"/>
          </a:xfrm>
          <a:prstGeom prst="rect">
            <a:avLst/>
          </a:prstGeom>
          <a:solidFill>
            <a:srgbClr val="008B8B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L_addcallmov</a:t>
            </a:r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9811265" y="4075437"/>
            <a:ext cx="2248930" cy="433859"/>
          </a:xfrm>
          <a:prstGeom prst="rect">
            <a:avLst/>
          </a:prstGeom>
          <a:solidFill>
            <a:srgbClr val="008B8B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L_xorcallmovcmp</a:t>
            </a:r>
            <a:endParaRPr lang="en-US" dirty="0"/>
          </a:p>
        </p:txBody>
      </p:sp>
      <p:sp>
        <p:nvSpPr>
          <p:cNvPr id="22" name="Rectangle 21"/>
          <p:cNvSpPr/>
          <p:nvPr/>
        </p:nvSpPr>
        <p:spPr>
          <a:xfrm>
            <a:off x="6654800" y="5066916"/>
            <a:ext cx="2248930" cy="433859"/>
          </a:xfrm>
          <a:prstGeom prst="rect">
            <a:avLst/>
          </a:prstGeom>
          <a:solidFill>
            <a:srgbClr val="008B8B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L_pushleaxormovcall</a:t>
            </a:r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>
            <a:off x="8686800" y="5996460"/>
            <a:ext cx="2248930" cy="433859"/>
          </a:xfrm>
          <a:prstGeom prst="rect">
            <a:avLst/>
          </a:prstGeom>
          <a:solidFill>
            <a:srgbClr val="008B8B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L_addcmpxorjmpmov</a:t>
            </a:r>
            <a:endParaRPr lang="en-US" dirty="0"/>
          </a:p>
        </p:txBody>
      </p:sp>
      <p:cxnSp>
        <p:nvCxnSpPr>
          <p:cNvPr id="24" name="Straight Connector 23"/>
          <p:cNvCxnSpPr>
            <a:stCxn id="13" idx="2"/>
            <a:endCxn id="17" idx="0"/>
          </p:cNvCxnSpPr>
          <p:nvPr/>
        </p:nvCxnSpPr>
        <p:spPr>
          <a:xfrm flipH="1">
            <a:off x="7779265" y="1112108"/>
            <a:ext cx="2180281" cy="891704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13" idx="2"/>
            <a:endCxn id="18" idx="0"/>
          </p:cNvCxnSpPr>
          <p:nvPr/>
        </p:nvCxnSpPr>
        <p:spPr>
          <a:xfrm>
            <a:off x="9959546" y="1112108"/>
            <a:ext cx="976184" cy="891704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stCxn id="17" idx="2"/>
            <a:endCxn id="19" idx="0"/>
          </p:cNvCxnSpPr>
          <p:nvPr/>
        </p:nvCxnSpPr>
        <p:spPr>
          <a:xfrm>
            <a:off x="7779265" y="2437671"/>
            <a:ext cx="0" cy="994892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>
            <a:stCxn id="19" idx="2"/>
            <a:endCxn id="22" idx="0"/>
          </p:cNvCxnSpPr>
          <p:nvPr/>
        </p:nvCxnSpPr>
        <p:spPr>
          <a:xfrm>
            <a:off x="7779265" y="3866422"/>
            <a:ext cx="0" cy="1200494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reeform 50"/>
          <p:cNvSpPr/>
          <p:nvPr/>
        </p:nvSpPr>
        <p:spPr>
          <a:xfrm>
            <a:off x="6039873" y="902043"/>
            <a:ext cx="2807565" cy="4213654"/>
          </a:xfrm>
          <a:custGeom>
            <a:avLst/>
            <a:gdLst>
              <a:gd name="connsiteX0" fmla="*/ 2807565 w 2807565"/>
              <a:gd name="connsiteY0" fmla="*/ 0 h 4213654"/>
              <a:gd name="connsiteX1" fmla="*/ 138505 w 2807565"/>
              <a:gd name="connsiteY1" fmla="*/ 877330 h 4213654"/>
              <a:gd name="connsiteX2" fmla="*/ 620419 w 2807565"/>
              <a:gd name="connsiteY2" fmla="*/ 4213654 h 4213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07565" h="4213654">
                <a:moveTo>
                  <a:pt x="2807565" y="0"/>
                </a:moveTo>
                <a:cubicBezTo>
                  <a:pt x="1655297" y="87527"/>
                  <a:pt x="503029" y="175054"/>
                  <a:pt x="138505" y="877330"/>
                </a:cubicBezTo>
                <a:cubicBezTo>
                  <a:pt x="-226019" y="1579606"/>
                  <a:pt x="197200" y="2896630"/>
                  <a:pt x="620419" y="4213654"/>
                </a:cubicBezTo>
              </a:path>
            </a:pathLst>
          </a:cu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3" name="Straight Connector 52"/>
          <p:cNvCxnSpPr>
            <a:stCxn id="18" idx="2"/>
            <a:endCxn id="20" idx="0"/>
          </p:cNvCxnSpPr>
          <p:nvPr/>
        </p:nvCxnSpPr>
        <p:spPr>
          <a:xfrm>
            <a:off x="10935730" y="2437671"/>
            <a:ext cx="0" cy="1637766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Elbow Connector 65"/>
          <p:cNvCxnSpPr>
            <a:stCxn id="18" idx="1"/>
          </p:cNvCxnSpPr>
          <p:nvPr/>
        </p:nvCxnSpPr>
        <p:spPr>
          <a:xfrm rot="10800000" flipV="1">
            <a:off x="9419771" y="2220742"/>
            <a:ext cx="391494" cy="3775718"/>
          </a:xfrm>
          <a:prstGeom prst="bentConnector2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5467540" y="3008870"/>
            <a:ext cx="42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l</a:t>
            </a:r>
            <a:endParaRPr lang="en-US" dirty="0"/>
          </a:p>
        </p:txBody>
      </p:sp>
      <p:sp>
        <p:nvSpPr>
          <p:cNvPr id="68" name="TextBox 67"/>
          <p:cNvSpPr txBox="1"/>
          <p:nvPr/>
        </p:nvSpPr>
        <p:spPr>
          <a:xfrm>
            <a:off x="8353137" y="1320800"/>
            <a:ext cx="42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l</a:t>
            </a:r>
            <a:endParaRPr lang="en-US" dirty="0"/>
          </a:p>
        </p:txBody>
      </p:sp>
      <p:sp>
        <p:nvSpPr>
          <p:cNvPr id="69" name="TextBox 68"/>
          <p:cNvSpPr txBox="1"/>
          <p:nvPr/>
        </p:nvSpPr>
        <p:spPr>
          <a:xfrm>
            <a:off x="10579951" y="1394339"/>
            <a:ext cx="42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l</a:t>
            </a:r>
            <a:endParaRPr lang="en-US" dirty="0"/>
          </a:p>
        </p:txBody>
      </p:sp>
      <p:sp>
        <p:nvSpPr>
          <p:cNvPr id="70" name="TextBox 69"/>
          <p:cNvSpPr txBox="1"/>
          <p:nvPr/>
        </p:nvSpPr>
        <p:spPr>
          <a:xfrm>
            <a:off x="10942203" y="2871161"/>
            <a:ext cx="42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l</a:t>
            </a:r>
            <a:endParaRPr lang="en-US" dirty="0"/>
          </a:p>
        </p:txBody>
      </p:sp>
      <p:sp>
        <p:nvSpPr>
          <p:cNvPr id="71" name="TextBox 70"/>
          <p:cNvSpPr txBox="1"/>
          <p:nvPr/>
        </p:nvSpPr>
        <p:spPr>
          <a:xfrm>
            <a:off x="7779265" y="4300281"/>
            <a:ext cx="42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l</a:t>
            </a:r>
            <a:endParaRPr lang="en-US" dirty="0"/>
          </a:p>
        </p:txBody>
      </p:sp>
      <p:sp>
        <p:nvSpPr>
          <p:cNvPr id="72" name="TextBox 71"/>
          <p:cNvSpPr txBox="1"/>
          <p:nvPr/>
        </p:nvSpPr>
        <p:spPr>
          <a:xfrm>
            <a:off x="7785738" y="2862819"/>
            <a:ext cx="42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l</a:t>
            </a:r>
            <a:endParaRPr lang="en-US" dirty="0"/>
          </a:p>
        </p:txBody>
      </p:sp>
      <p:sp>
        <p:nvSpPr>
          <p:cNvPr id="73" name="TextBox 72"/>
          <p:cNvSpPr txBox="1"/>
          <p:nvPr/>
        </p:nvSpPr>
        <p:spPr>
          <a:xfrm>
            <a:off x="9955951" y="1457151"/>
            <a:ext cx="42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25</a:t>
            </a:r>
            <a:endParaRPr lang="en-US" dirty="0"/>
          </a:p>
        </p:txBody>
      </p:sp>
      <p:sp>
        <p:nvSpPr>
          <p:cNvPr id="74" name="TextBox 73"/>
          <p:cNvSpPr txBox="1"/>
          <p:nvPr/>
        </p:nvSpPr>
        <p:spPr>
          <a:xfrm>
            <a:off x="7313756" y="2862819"/>
            <a:ext cx="42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29</a:t>
            </a:r>
            <a:endParaRPr lang="en-US" dirty="0"/>
          </a:p>
        </p:txBody>
      </p:sp>
      <p:sp>
        <p:nvSpPr>
          <p:cNvPr id="75" name="TextBox 74"/>
          <p:cNvSpPr txBox="1"/>
          <p:nvPr/>
        </p:nvSpPr>
        <p:spPr>
          <a:xfrm>
            <a:off x="7354004" y="4363457"/>
            <a:ext cx="42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1</a:t>
            </a:r>
            <a:r>
              <a:rPr lang="en-US" dirty="0"/>
              <a:t>8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9419771" y="4562109"/>
            <a:ext cx="42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56</a:t>
            </a:r>
            <a:endParaRPr lang="en-US" dirty="0"/>
          </a:p>
        </p:txBody>
      </p:sp>
      <p:sp>
        <p:nvSpPr>
          <p:cNvPr id="77" name="TextBox 76"/>
          <p:cNvSpPr txBox="1"/>
          <p:nvPr/>
        </p:nvSpPr>
        <p:spPr>
          <a:xfrm>
            <a:off x="10502885" y="3143202"/>
            <a:ext cx="42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37</a:t>
            </a:r>
            <a:endParaRPr lang="en-US" dirty="0"/>
          </a:p>
        </p:txBody>
      </p:sp>
      <p:sp>
        <p:nvSpPr>
          <p:cNvPr id="78" name="TextBox 77"/>
          <p:cNvSpPr txBox="1"/>
          <p:nvPr/>
        </p:nvSpPr>
        <p:spPr>
          <a:xfrm>
            <a:off x="6159160" y="2935117"/>
            <a:ext cx="42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4</a:t>
            </a:r>
            <a:r>
              <a:rPr lang="en-US" dirty="0" smtClean="0"/>
              <a:t>5</a:t>
            </a:r>
            <a:endParaRPr lang="en-US" dirty="0"/>
          </a:p>
        </p:txBody>
      </p:sp>
      <p:sp>
        <p:nvSpPr>
          <p:cNvPr id="79" name="TextBox 78"/>
          <p:cNvSpPr txBox="1"/>
          <p:nvPr/>
        </p:nvSpPr>
        <p:spPr>
          <a:xfrm>
            <a:off x="8903730" y="1558279"/>
            <a:ext cx="42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16</a:t>
            </a:r>
            <a:endParaRPr lang="en-US" dirty="0"/>
          </a:p>
        </p:txBody>
      </p:sp>
      <p:sp>
        <p:nvSpPr>
          <p:cNvPr id="80" name="TextBox 79"/>
          <p:cNvSpPr txBox="1"/>
          <p:nvPr/>
        </p:nvSpPr>
        <p:spPr>
          <a:xfrm>
            <a:off x="8994511" y="4693853"/>
            <a:ext cx="42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l</a:t>
            </a:r>
            <a:endParaRPr lang="en-US" dirty="0"/>
          </a:p>
        </p:txBody>
      </p:sp>
      <p:cxnSp>
        <p:nvCxnSpPr>
          <p:cNvPr id="8" name="Straight Connector 7"/>
          <p:cNvCxnSpPr>
            <a:stCxn id="22" idx="2"/>
          </p:cNvCxnSpPr>
          <p:nvPr/>
        </p:nvCxnSpPr>
        <p:spPr>
          <a:xfrm>
            <a:off x="7779265" y="5500775"/>
            <a:ext cx="6473" cy="1255625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>
            <a:stCxn id="23" idx="2"/>
          </p:cNvCxnSpPr>
          <p:nvPr/>
        </p:nvCxnSpPr>
        <p:spPr>
          <a:xfrm>
            <a:off x="9811265" y="6430319"/>
            <a:ext cx="0" cy="427681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stCxn id="20" idx="2"/>
          </p:cNvCxnSpPr>
          <p:nvPr/>
        </p:nvCxnSpPr>
        <p:spPr>
          <a:xfrm flipH="1">
            <a:off x="10928145" y="4509296"/>
            <a:ext cx="7585" cy="1383504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31105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6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9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2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8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1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0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3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9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5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8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7" grpId="0" animBg="1"/>
      <p:bldP spid="18" grpId="0" animBg="1"/>
      <p:bldP spid="19" grpId="0" animBg="1"/>
      <p:bldP spid="20" grpId="0" animBg="1"/>
      <p:bldP spid="22" grpId="0" animBg="1"/>
      <p:bldP spid="23" grpId="0" animBg="1"/>
      <p:bldP spid="51" grpId="0" animBg="1"/>
      <p:bldP spid="67" grpId="0"/>
      <p:bldP spid="68" grpId="0"/>
      <p:bldP spid="69" grpId="0"/>
      <p:bldP spid="70" grpId="0"/>
      <p:bldP spid="71" grpId="0"/>
      <p:bldP spid="72" grpId="0"/>
      <p:bldP spid="73" grpId="0"/>
      <p:bldP spid="74" grpId="0"/>
      <p:bldP spid="75" grpId="0"/>
      <p:bldP spid="76" grpId="0"/>
      <p:bldP spid="77" grpId="0"/>
      <p:bldP spid="78" grpId="0"/>
      <p:bldP spid="79" grpId="0"/>
      <p:bldP spid="80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/>
          <p:cNvGrpSpPr/>
          <p:nvPr/>
        </p:nvGrpSpPr>
        <p:grpSpPr>
          <a:xfrm>
            <a:off x="3971466" y="1350057"/>
            <a:ext cx="3505200" cy="4749119"/>
            <a:chOff x="2514600" y="3090315"/>
            <a:chExt cx="2286380" cy="3303735"/>
          </a:xfrm>
          <a:solidFill>
            <a:schemeClr val="tx1"/>
          </a:solidFill>
          <a:effectLst>
            <a:outerShdw blurRad="368300" dist="38100" dir="8100000" algn="tr" rotWithShape="0">
              <a:prstClr val="black">
                <a:alpha val="40000"/>
              </a:prstClr>
            </a:outerShdw>
          </a:effectLst>
        </p:grpSpPr>
        <p:grpSp>
          <p:nvGrpSpPr>
            <p:cNvPr id="5" name="Group 4"/>
            <p:cNvGrpSpPr/>
            <p:nvPr/>
          </p:nvGrpSpPr>
          <p:grpSpPr>
            <a:xfrm>
              <a:off x="2514600" y="5593557"/>
              <a:ext cx="2286380" cy="800493"/>
              <a:chOff x="1904620" y="5479257"/>
              <a:chExt cx="2286380" cy="800493"/>
            </a:xfrm>
            <a:grpFill/>
          </p:grpSpPr>
          <p:sp>
            <p:nvSpPr>
              <p:cNvPr id="19" name="Rectangle 18"/>
              <p:cNvSpPr/>
              <p:nvPr/>
            </p:nvSpPr>
            <p:spPr>
              <a:xfrm>
                <a:off x="1905000" y="5822550"/>
                <a:ext cx="2286000" cy="457200"/>
              </a:xfrm>
              <a:prstGeom prst="rect">
                <a:avLst/>
              </a:prstGeom>
              <a:grpFill/>
              <a:ln w="127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2800" b="1" dirty="0"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>
                      <a:outerShdw blurRad="50800" dist="38100" dir="5400000" algn="t" rotWithShape="0">
                        <a:prstClr val="black">
                          <a:alpha val="24000"/>
                        </a:prstClr>
                      </a:outerShdw>
                    </a:effectLst>
                    <a:latin typeface="Calibri"/>
                    <a:cs typeface="Arial" pitchFamily="34" charset="0"/>
                  </a:rPr>
                  <a:t>STEP ONE</a:t>
                </a:r>
              </a:p>
            </p:txBody>
          </p:sp>
          <p:sp>
            <p:nvSpPr>
              <p:cNvPr id="20" name="Trapezoid 19"/>
              <p:cNvSpPr/>
              <p:nvPr/>
            </p:nvSpPr>
            <p:spPr>
              <a:xfrm>
                <a:off x="1904620" y="5479257"/>
                <a:ext cx="2286000" cy="457200"/>
              </a:xfrm>
              <a:prstGeom prst="trapezoid">
                <a:avLst/>
              </a:prstGeom>
              <a:grpFill/>
              <a:ln w="1270" cap="sq">
                <a:noFill/>
                <a:miter lim="800000"/>
              </a:ln>
              <a:scene3d>
                <a:camera prst="orthographicFront">
                  <a:rot lat="17999931" lon="10799973" rev="21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prstClr val="black">
                      <a:lumMod val="85000"/>
                      <a:lumOff val="15000"/>
                    </a:prstClr>
                  </a:solidFill>
                  <a:effectLst>
                    <a:outerShdw blurRad="50800" dist="38100" dir="5400000" algn="t" rotWithShape="0">
                      <a:prstClr val="black">
                        <a:alpha val="24000"/>
                      </a:prstClr>
                    </a:outerShdw>
                  </a:effectLst>
                  <a:latin typeface="Calibri"/>
                  <a:cs typeface="Arial" pitchFamily="34" charset="0"/>
                </a:endParaRP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2621349" y="4979089"/>
              <a:ext cx="2075980" cy="736603"/>
              <a:chOff x="1906901" y="5494944"/>
              <a:chExt cx="2286702" cy="736603"/>
            </a:xfrm>
            <a:grpFill/>
          </p:grpSpPr>
          <p:sp>
            <p:nvSpPr>
              <p:cNvPr id="17" name="Rectangle 16"/>
              <p:cNvSpPr/>
              <p:nvPr/>
            </p:nvSpPr>
            <p:spPr>
              <a:xfrm>
                <a:off x="1907281" y="5820067"/>
                <a:ext cx="2286322" cy="411480"/>
              </a:xfrm>
              <a:prstGeom prst="rect">
                <a:avLst/>
              </a:prstGeom>
              <a:grpFill/>
              <a:ln w="127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2400" b="1" dirty="0"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>
                      <a:outerShdw blurRad="50800" dist="38100" dir="5400000" algn="t" rotWithShape="0">
                        <a:prstClr val="black">
                          <a:alpha val="24000"/>
                        </a:prstClr>
                      </a:outerShdw>
                    </a:effectLst>
                    <a:latin typeface="Calibri"/>
                    <a:cs typeface="Arial" pitchFamily="34" charset="0"/>
                  </a:rPr>
                  <a:t>STEP TWO </a:t>
                </a:r>
              </a:p>
            </p:txBody>
          </p:sp>
          <p:sp>
            <p:nvSpPr>
              <p:cNvPr id="18" name="Trapezoid 17"/>
              <p:cNvSpPr/>
              <p:nvPr/>
            </p:nvSpPr>
            <p:spPr>
              <a:xfrm>
                <a:off x="1906901" y="5494944"/>
                <a:ext cx="2286000" cy="457200"/>
              </a:xfrm>
              <a:prstGeom prst="trapezoid">
                <a:avLst/>
              </a:prstGeom>
              <a:grpFill/>
              <a:ln w="1270" cap="sq">
                <a:noFill/>
                <a:miter lim="800000"/>
              </a:ln>
              <a:scene3d>
                <a:camera prst="orthographicFront">
                  <a:rot lat="17699931" lon="10799969" rev="24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prstClr val="black">
                      <a:lumMod val="85000"/>
                      <a:lumOff val="15000"/>
                    </a:prstClr>
                  </a:solidFill>
                  <a:effectLst>
                    <a:outerShdw blurRad="50800" dist="38100" dir="5400000" algn="t" rotWithShape="0">
                      <a:prstClr val="black">
                        <a:alpha val="24000"/>
                      </a:prstClr>
                    </a:outerShdw>
                  </a:effectLst>
                  <a:latin typeface="Calibri"/>
                  <a:cs typeface="Arial" pitchFamily="34" charset="0"/>
                </a:endParaRPr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>
              <a:off x="2729912" y="4409518"/>
              <a:ext cx="1855684" cy="700322"/>
              <a:chOff x="1899492" y="5521221"/>
              <a:chExt cx="2297021" cy="700322"/>
            </a:xfrm>
            <a:grpFill/>
          </p:grpSpPr>
          <p:sp>
            <p:nvSpPr>
              <p:cNvPr id="15" name="Rectangle 14"/>
              <p:cNvSpPr/>
              <p:nvPr/>
            </p:nvSpPr>
            <p:spPr>
              <a:xfrm>
                <a:off x="1905000" y="5828351"/>
                <a:ext cx="2291512" cy="393192"/>
              </a:xfrm>
              <a:prstGeom prst="rect">
                <a:avLst/>
              </a:prstGeom>
              <a:grpFill/>
              <a:ln w="127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2000" b="1" dirty="0"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>
                      <a:outerShdw blurRad="50800" dist="38100" dir="5400000" algn="t" rotWithShape="0">
                        <a:prstClr val="black">
                          <a:alpha val="24000"/>
                        </a:prstClr>
                      </a:outerShdw>
                    </a:effectLst>
                    <a:latin typeface="Calibri"/>
                    <a:cs typeface="Arial" pitchFamily="34" charset="0"/>
                  </a:rPr>
                  <a:t>STEP THREE</a:t>
                </a:r>
              </a:p>
            </p:txBody>
          </p:sp>
          <p:sp>
            <p:nvSpPr>
              <p:cNvPr id="16" name="Trapezoid 15"/>
              <p:cNvSpPr/>
              <p:nvPr/>
            </p:nvSpPr>
            <p:spPr>
              <a:xfrm>
                <a:off x="1899492" y="5521221"/>
                <a:ext cx="2297021" cy="457200"/>
              </a:xfrm>
              <a:prstGeom prst="trapezoid">
                <a:avLst/>
              </a:prstGeom>
              <a:grpFill/>
              <a:ln w="1270" cap="sq">
                <a:noFill/>
                <a:miter lim="800000"/>
              </a:ln>
              <a:scene3d>
                <a:camera prst="orthographicFront">
                  <a:rot lat="17399931" lon="10799963" rev="29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prstClr val="black">
                      <a:lumMod val="85000"/>
                      <a:lumOff val="15000"/>
                    </a:prstClr>
                  </a:solidFill>
                  <a:effectLst>
                    <a:outerShdw blurRad="50800" dist="38100" dir="5400000" algn="t" rotWithShape="0">
                      <a:prstClr val="black">
                        <a:alpha val="24000"/>
                      </a:prstClr>
                    </a:outerShdw>
                  </a:effectLst>
                  <a:latin typeface="Calibri"/>
                  <a:cs typeface="Arial" pitchFamily="34" charset="0"/>
                </a:endParaRPr>
              </a:p>
            </p:txBody>
          </p:sp>
        </p:grpSp>
        <p:grpSp>
          <p:nvGrpSpPr>
            <p:cNvPr id="8" name="Group 7"/>
            <p:cNvGrpSpPr/>
            <p:nvPr/>
          </p:nvGrpSpPr>
          <p:grpSpPr>
            <a:xfrm>
              <a:off x="2838967" y="3902764"/>
              <a:ext cx="1640501" cy="656044"/>
              <a:chOff x="1895892" y="5533921"/>
              <a:chExt cx="2304457" cy="656044"/>
            </a:xfrm>
            <a:grpFill/>
          </p:grpSpPr>
          <p:sp>
            <p:nvSpPr>
              <p:cNvPr id="13" name="Rectangle 12"/>
              <p:cNvSpPr/>
              <p:nvPr/>
            </p:nvSpPr>
            <p:spPr>
              <a:xfrm>
                <a:off x="1896274" y="5824205"/>
                <a:ext cx="2304075" cy="365760"/>
              </a:xfrm>
              <a:prstGeom prst="rect">
                <a:avLst/>
              </a:prstGeom>
              <a:grpFill/>
              <a:ln w="127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b="1" dirty="0"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>
                      <a:outerShdw blurRad="50800" dist="38100" dir="5400000" algn="t" rotWithShape="0">
                        <a:prstClr val="black">
                          <a:alpha val="24000"/>
                        </a:prstClr>
                      </a:outerShdw>
                    </a:effectLst>
                    <a:latin typeface="Calibri"/>
                    <a:cs typeface="Arial" pitchFamily="34" charset="0"/>
                  </a:rPr>
                  <a:t>STEP FOUR</a:t>
                </a:r>
              </a:p>
            </p:txBody>
          </p:sp>
          <p:sp>
            <p:nvSpPr>
              <p:cNvPr id="14" name="Trapezoid 13"/>
              <p:cNvSpPr/>
              <p:nvPr/>
            </p:nvSpPr>
            <p:spPr>
              <a:xfrm>
                <a:off x="1895892" y="5533921"/>
                <a:ext cx="2304075" cy="457200"/>
              </a:xfrm>
              <a:prstGeom prst="trapezoid">
                <a:avLst/>
              </a:prstGeom>
              <a:grpFill/>
              <a:ln w="1270" cap="sq">
                <a:noFill/>
                <a:miter lim="800000"/>
              </a:ln>
              <a:scene3d>
                <a:camera prst="orthographicFront">
                  <a:rot lat="17099929" lon="10799953" rev="38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prstClr val="black">
                      <a:lumMod val="85000"/>
                      <a:lumOff val="15000"/>
                    </a:prstClr>
                  </a:solidFill>
                  <a:effectLst>
                    <a:outerShdw blurRad="50800" dist="38100" dir="5400000" algn="t" rotWithShape="0">
                      <a:prstClr val="black">
                        <a:alpha val="24000"/>
                      </a:prstClr>
                    </a:outerShdw>
                  </a:effectLst>
                  <a:latin typeface="Calibri"/>
                  <a:cs typeface="Arial" pitchFamily="34" charset="0"/>
                </a:endParaRP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2943880" y="3560450"/>
              <a:ext cx="1431473" cy="510318"/>
              <a:chOff x="1884443" y="5666091"/>
              <a:chExt cx="2324205" cy="510318"/>
            </a:xfrm>
            <a:grpFill/>
          </p:grpSpPr>
          <p:sp>
            <p:nvSpPr>
              <p:cNvPr id="11" name="Rectangle 10"/>
              <p:cNvSpPr/>
              <p:nvPr/>
            </p:nvSpPr>
            <p:spPr>
              <a:xfrm>
                <a:off x="1894912" y="5819793"/>
                <a:ext cx="2304838" cy="356616"/>
              </a:xfrm>
              <a:prstGeom prst="rect">
                <a:avLst/>
              </a:prstGeom>
              <a:grpFill/>
              <a:ln w="127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b="1" dirty="0"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>
                      <a:outerShdw blurRad="50800" dist="38100" dir="5400000" algn="t" rotWithShape="0">
                        <a:prstClr val="black">
                          <a:alpha val="24000"/>
                        </a:prstClr>
                      </a:outerShdw>
                    </a:effectLst>
                    <a:latin typeface="Calibri"/>
                    <a:cs typeface="Arial" pitchFamily="34" charset="0"/>
                  </a:rPr>
                  <a:t>STEP FIVE</a:t>
                </a:r>
              </a:p>
            </p:txBody>
          </p:sp>
          <p:sp>
            <p:nvSpPr>
              <p:cNvPr id="12" name="Trapezoid 11"/>
              <p:cNvSpPr/>
              <p:nvPr/>
            </p:nvSpPr>
            <p:spPr>
              <a:xfrm>
                <a:off x="1884443" y="5666091"/>
                <a:ext cx="2324205" cy="258077"/>
              </a:xfrm>
              <a:prstGeom prst="trapezoid">
                <a:avLst/>
              </a:prstGeom>
              <a:grpFill/>
              <a:ln w="1270" cap="sq">
                <a:noFill/>
                <a:miter lim="800000"/>
              </a:ln>
              <a:scene3d>
                <a:camera prst="orthographicFront">
                  <a:rot lat="16799928" lon="10799934" rev="56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prstClr val="black">
                      <a:lumMod val="85000"/>
                      <a:lumOff val="15000"/>
                    </a:prstClr>
                  </a:solidFill>
                  <a:effectLst>
                    <a:outerShdw blurRad="50800" dist="38100" dir="5400000" algn="t" rotWithShape="0">
                      <a:prstClr val="black">
                        <a:alpha val="24000"/>
                      </a:prstClr>
                    </a:outerShdw>
                  </a:effectLst>
                  <a:latin typeface="Calibri"/>
                  <a:cs typeface="Arial" pitchFamily="34" charset="0"/>
                </a:endParaRPr>
              </a:p>
            </p:txBody>
          </p:sp>
        </p:grpSp>
        <p:sp>
          <p:nvSpPr>
            <p:cNvPr id="10" name="Trapezoid 9"/>
            <p:cNvSpPr/>
            <p:nvPr/>
          </p:nvSpPr>
          <p:spPr>
            <a:xfrm>
              <a:off x="3062289" y="3090315"/>
              <a:ext cx="1188522" cy="457200"/>
            </a:xfrm>
            <a:prstGeom prst="trapezoid">
              <a:avLst/>
            </a:prstGeom>
            <a:grpFill/>
            <a:ln w="1270" cap="sq">
              <a:noFill/>
              <a:miter lim="800000"/>
            </a:ln>
            <a:scene3d>
              <a:camera prst="orthographicFront">
                <a:rot lat="16200000" lon="10799880" rev="108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50800" dist="38100" dir="5400000" algn="t" rotWithShape="0">
                    <a:prstClr val="black">
                      <a:alpha val="24000"/>
                    </a:prstClr>
                  </a:outerShdw>
                </a:effectLst>
                <a:latin typeface="Calibri"/>
                <a:cs typeface="Arial" pitchFamily="34" charset="0"/>
              </a:endParaRPr>
            </a:p>
          </p:txBody>
        </p:sp>
      </p:grpSp>
      <p:sp>
        <p:nvSpPr>
          <p:cNvPr id="25" name="Title 1"/>
          <p:cNvSpPr txBox="1">
            <a:spLocks/>
          </p:cNvSpPr>
          <p:nvPr/>
        </p:nvSpPr>
        <p:spPr>
          <a:xfrm>
            <a:off x="1755316" y="324025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"/>
            <a:r>
              <a:rPr lang="en-US" dirty="0" smtClean="0">
                <a:solidFill>
                  <a:schemeClr val="bg1"/>
                </a:solidFill>
                <a:latin typeface="Calibri"/>
              </a:rPr>
              <a:t>Recap of Our Framework</a:t>
            </a:r>
            <a:endParaRPr lang="en-US" dirty="0">
              <a:solidFill>
                <a:schemeClr val="bg1"/>
              </a:solidFill>
              <a:latin typeface="Calibri"/>
            </a:endParaRPr>
          </a:p>
        </p:txBody>
      </p:sp>
      <p:grpSp>
        <p:nvGrpSpPr>
          <p:cNvPr id="49" name="Group 48"/>
          <p:cNvGrpSpPr/>
          <p:nvPr/>
        </p:nvGrpSpPr>
        <p:grpSpPr>
          <a:xfrm>
            <a:off x="7346491" y="2151351"/>
            <a:ext cx="2381250" cy="937924"/>
            <a:chOff x="5471532" y="1043376"/>
            <a:chExt cx="2986668" cy="937924"/>
          </a:xfrm>
        </p:grpSpPr>
        <p:sp>
          <p:nvSpPr>
            <p:cNvPr id="50" name="Rectangle 49"/>
            <p:cNvSpPr/>
            <p:nvPr/>
          </p:nvSpPr>
          <p:spPr>
            <a:xfrm>
              <a:off x="5471532" y="1043376"/>
              <a:ext cx="2986668" cy="394999"/>
            </a:xfrm>
            <a:prstGeom prst="rect">
              <a:avLst/>
            </a:prstGeom>
            <a:noFill/>
            <a:ln w="1905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>
                <a:defRPr/>
              </a:pPr>
              <a:r>
                <a:rPr lang="en-US" sz="16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Calibri"/>
                </a:rPr>
                <a:t>STEP FIVE</a:t>
              </a: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5471532" y="1270358"/>
              <a:ext cx="2986668" cy="710942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t"/>
            <a:lstStyle/>
            <a:p>
              <a:pPr marL="176213" indent="-176213">
                <a:buFont typeface="Arial" pitchFamily="34" charset="0"/>
                <a:buChar char="•"/>
                <a:defRPr/>
              </a:pPr>
              <a:r>
                <a:rPr lang="en-US" sz="1200" kern="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Calibri"/>
                </a:rPr>
                <a:t>A learned model has been formed to take a decision.</a:t>
              </a:r>
            </a:p>
            <a:p>
              <a:pPr>
                <a:defRPr/>
              </a:pPr>
              <a:endParaRPr lang="en-US" sz="1200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Calibri"/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7603666" y="3503901"/>
            <a:ext cx="2381250" cy="937924"/>
            <a:chOff x="5471532" y="1043376"/>
            <a:chExt cx="2986668" cy="937924"/>
          </a:xfrm>
        </p:grpSpPr>
        <p:sp>
          <p:nvSpPr>
            <p:cNvPr id="65" name="Rectangle 64"/>
            <p:cNvSpPr/>
            <p:nvPr/>
          </p:nvSpPr>
          <p:spPr>
            <a:xfrm>
              <a:off x="5471532" y="1043376"/>
              <a:ext cx="2986668" cy="394999"/>
            </a:xfrm>
            <a:prstGeom prst="rect">
              <a:avLst/>
            </a:prstGeom>
            <a:noFill/>
            <a:ln w="1905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>
                <a:defRPr/>
              </a:pPr>
              <a:r>
                <a:rPr lang="en-US" sz="16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Calibri"/>
                </a:rPr>
                <a:t>STEP THREE</a:t>
              </a:r>
            </a:p>
          </p:txBody>
        </p:sp>
        <p:sp>
          <p:nvSpPr>
            <p:cNvPr id="66" name="Rectangle 65"/>
            <p:cNvSpPr/>
            <p:nvPr/>
          </p:nvSpPr>
          <p:spPr>
            <a:xfrm>
              <a:off x="5471532" y="1270358"/>
              <a:ext cx="2986668" cy="710942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t"/>
            <a:lstStyle/>
            <a:p>
              <a:pPr marL="176213" indent="-176213">
                <a:buFont typeface="Arial" pitchFamily="34" charset="0"/>
                <a:buChar char="•"/>
                <a:defRPr/>
              </a:pPr>
              <a:r>
                <a:rPr lang="en-US" sz="1200" kern="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Calibri"/>
                </a:rPr>
                <a:t>Constructing training dataset and testing dataset</a:t>
              </a:r>
            </a:p>
            <a:p>
              <a:pPr marL="176213" indent="-176213">
                <a:buFont typeface="Arial" pitchFamily="34" charset="0"/>
                <a:buChar char="•"/>
                <a:defRPr/>
              </a:pPr>
              <a:r>
                <a:rPr lang="en-US" sz="1200" kern="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Calibri"/>
                </a:rPr>
                <a:t>K-fold Cross validation</a:t>
              </a: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1936291" y="2713326"/>
            <a:ext cx="2381250" cy="937924"/>
            <a:chOff x="5471532" y="1043376"/>
            <a:chExt cx="2986668" cy="937924"/>
          </a:xfrm>
        </p:grpSpPr>
        <p:sp>
          <p:nvSpPr>
            <p:cNvPr id="68" name="Rectangle 67"/>
            <p:cNvSpPr/>
            <p:nvPr/>
          </p:nvSpPr>
          <p:spPr>
            <a:xfrm>
              <a:off x="5471532" y="1043376"/>
              <a:ext cx="2986668" cy="394999"/>
            </a:xfrm>
            <a:prstGeom prst="rect">
              <a:avLst/>
            </a:prstGeom>
            <a:noFill/>
            <a:ln w="1905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>
                <a:defRPr/>
              </a:pPr>
              <a:r>
                <a:rPr lang="en-US" sz="16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Calibri"/>
                </a:rPr>
                <a:t>STEP FOUR</a:t>
              </a:r>
            </a:p>
          </p:txBody>
        </p:sp>
        <p:sp>
          <p:nvSpPr>
            <p:cNvPr id="69" name="Rectangle 68"/>
            <p:cNvSpPr/>
            <p:nvPr/>
          </p:nvSpPr>
          <p:spPr>
            <a:xfrm>
              <a:off x="5471532" y="1270358"/>
              <a:ext cx="2986668" cy="710942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t"/>
            <a:lstStyle/>
            <a:p>
              <a:pPr marL="176213" indent="-176213">
                <a:buFont typeface="Arial" pitchFamily="34" charset="0"/>
                <a:buChar char="•"/>
                <a:defRPr/>
              </a:pPr>
              <a:r>
                <a:rPr lang="en-US" sz="1200" kern="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Calibri"/>
                </a:rPr>
                <a:t>Using Classifier to classify from a feature table to two different classes. Goodware and Malware. </a:t>
              </a:r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1764841" y="4294476"/>
            <a:ext cx="2381250" cy="937924"/>
            <a:chOff x="5471532" y="1043376"/>
            <a:chExt cx="2986668" cy="937924"/>
          </a:xfrm>
        </p:grpSpPr>
        <p:sp>
          <p:nvSpPr>
            <p:cNvPr id="71" name="Rectangle 70"/>
            <p:cNvSpPr/>
            <p:nvPr/>
          </p:nvSpPr>
          <p:spPr>
            <a:xfrm>
              <a:off x="5471532" y="1043376"/>
              <a:ext cx="2986668" cy="394999"/>
            </a:xfrm>
            <a:prstGeom prst="rect">
              <a:avLst/>
            </a:prstGeom>
            <a:noFill/>
            <a:ln w="1905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>
                <a:defRPr/>
              </a:pPr>
              <a:r>
                <a:rPr lang="en-US" sz="16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Calibri"/>
                </a:rPr>
                <a:t>STEP TWO</a:t>
              </a: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5471532" y="1270358"/>
              <a:ext cx="2986668" cy="710942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t"/>
            <a:lstStyle/>
            <a:p>
              <a:pPr marL="176213" indent="-176213">
                <a:buFont typeface="Arial" pitchFamily="34" charset="0"/>
                <a:buChar char="•"/>
                <a:defRPr/>
              </a:pPr>
              <a:r>
                <a:rPr lang="en-US" sz="1200" kern="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Calibri"/>
                </a:rPr>
                <a:t>Find the </a:t>
              </a:r>
              <a:r>
                <a:rPr lang="en-US" sz="1200" kern="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</a:rPr>
                <a:t>discriminative </a:t>
              </a:r>
              <a:r>
                <a:rPr lang="en-US" sz="1200" kern="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Calibri"/>
                </a:rPr>
                <a:t>features by removing the common features. {G-M}U{M-G}</a:t>
              </a:r>
            </a:p>
            <a:p>
              <a:pPr marL="176213" indent="-176213">
                <a:buFont typeface="Arial" pitchFamily="34" charset="0"/>
                <a:buChar char="•"/>
                <a:defRPr/>
              </a:pPr>
              <a:endParaRPr lang="en-US" sz="1200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Calibri"/>
              </a:endParaRPr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7870366" y="5113626"/>
            <a:ext cx="2381250" cy="937924"/>
            <a:chOff x="5471532" y="1043376"/>
            <a:chExt cx="2986668" cy="937924"/>
          </a:xfrm>
        </p:grpSpPr>
        <p:sp>
          <p:nvSpPr>
            <p:cNvPr id="74" name="Rectangle 73"/>
            <p:cNvSpPr/>
            <p:nvPr/>
          </p:nvSpPr>
          <p:spPr>
            <a:xfrm>
              <a:off x="5471532" y="1043376"/>
              <a:ext cx="2986668" cy="394999"/>
            </a:xfrm>
            <a:prstGeom prst="rect">
              <a:avLst/>
            </a:prstGeom>
            <a:noFill/>
            <a:ln w="1905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>
                <a:defRPr/>
              </a:pPr>
              <a:r>
                <a:rPr lang="en-US" sz="16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Calibri"/>
                </a:rPr>
                <a:t>STEP ONE</a:t>
              </a:r>
            </a:p>
          </p:txBody>
        </p:sp>
        <p:sp>
          <p:nvSpPr>
            <p:cNvPr id="75" name="Rectangle 74"/>
            <p:cNvSpPr/>
            <p:nvPr/>
          </p:nvSpPr>
          <p:spPr>
            <a:xfrm>
              <a:off x="5471532" y="1270358"/>
              <a:ext cx="2986668" cy="710942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t"/>
            <a:lstStyle/>
            <a:p>
              <a:pPr marL="176213" indent="-176213">
                <a:buFont typeface="Arial" pitchFamily="34" charset="0"/>
                <a:buChar char="•"/>
                <a:defRPr/>
              </a:pPr>
              <a:r>
                <a:rPr lang="en-US" sz="1200" kern="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Calibri"/>
                </a:rPr>
                <a:t>Finding features by frequent pattern min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812731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39788" y="355600"/>
            <a:ext cx="10515600" cy="1325563"/>
          </a:xfrm>
        </p:spPr>
        <p:txBody>
          <a:bodyPr/>
          <a:lstStyle/>
          <a:p>
            <a:pPr algn="ctr"/>
            <a:r>
              <a:rPr lang="en-US" b="1" dirty="0" smtClean="0"/>
              <a:t>Implementation Details</a:t>
            </a:r>
            <a:endParaRPr lang="en-US" b="1" dirty="0"/>
          </a:p>
        </p:txBody>
      </p:sp>
      <p:sp>
        <p:nvSpPr>
          <p:cNvPr id="11" name="Content Placeholder 10"/>
          <p:cNvSpPr>
            <a:spLocks noGrp="1"/>
          </p:cNvSpPr>
          <p:nvPr>
            <p:ph sz="half" idx="2"/>
          </p:nvPr>
        </p:nvSpPr>
        <p:spPr>
          <a:xfrm>
            <a:off x="3754687" y="2733211"/>
            <a:ext cx="4685802" cy="3684588"/>
          </a:xfrm>
        </p:spPr>
        <p:txBody>
          <a:bodyPr>
            <a:noAutofit/>
          </a:bodyPr>
          <a:lstStyle/>
          <a:p>
            <a:pPr algn="just">
              <a:buFont typeface="Wingdings" panose="05000000000000000000" pitchFamily="2" charset="2"/>
              <a:buChar char="q"/>
            </a:pPr>
            <a:r>
              <a:rPr lang="en-US" sz="2400" dirty="0" smtClean="0"/>
              <a:t>CPU-Core </a:t>
            </a:r>
            <a:r>
              <a:rPr lang="en-US" sz="2400" dirty="0"/>
              <a:t>: Intel Core </a:t>
            </a:r>
            <a:r>
              <a:rPr lang="en-US" sz="2400" dirty="0" smtClean="0"/>
              <a:t>i5-4210U</a:t>
            </a:r>
          </a:p>
          <a:p>
            <a:pPr algn="just">
              <a:buFont typeface="Wingdings" panose="05000000000000000000" pitchFamily="2" charset="2"/>
              <a:buChar char="q"/>
            </a:pPr>
            <a:r>
              <a:rPr lang="en-US" sz="2400" dirty="0" smtClean="0"/>
              <a:t>Ram</a:t>
            </a:r>
            <a:r>
              <a:rPr lang="en-US" sz="2400" dirty="0"/>
              <a:t>: </a:t>
            </a:r>
            <a:r>
              <a:rPr lang="en-US" sz="2400" dirty="0" smtClean="0"/>
              <a:t>8GB </a:t>
            </a:r>
            <a:r>
              <a:rPr lang="en-US" sz="2400" dirty="0"/>
              <a:t>Bus </a:t>
            </a:r>
            <a:r>
              <a:rPr lang="en-US" sz="2400" dirty="0" smtClean="0"/>
              <a:t>1600MHz</a:t>
            </a:r>
          </a:p>
          <a:p>
            <a:pPr algn="just">
              <a:buFont typeface="Wingdings" panose="05000000000000000000" pitchFamily="2" charset="2"/>
              <a:buChar char="q"/>
            </a:pPr>
            <a:r>
              <a:rPr lang="en-US" sz="2400" dirty="0" smtClean="0"/>
              <a:t>Language: Python3</a:t>
            </a:r>
          </a:p>
          <a:p>
            <a:pPr algn="just">
              <a:buFont typeface="Wingdings" panose="05000000000000000000" pitchFamily="2" charset="2"/>
              <a:buChar char="q"/>
            </a:pPr>
            <a:r>
              <a:rPr lang="en-US" sz="2400" dirty="0" smtClean="0"/>
              <a:t>IDE: Visual Studio Code v.1.3.0</a:t>
            </a:r>
          </a:p>
        </p:txBody>
      </p:sp>
    </p:spTree>
    <p:extLst>
      <p:ext uri="{BB962C8B-B14F-4D97-AF65-F5344CB8AC3E}">
        <p14:creationId xmlns:p14="http://schemas.microsoft.com/office/powerpoint/2010/main" val="11553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 txBox="1">
            <a:spLocks/>
          </p:cNvSpPr>
          <p:nvPr/>
        </p:nvSpPr>
        <p:spPr>
          <a:xfrm>
            <a:off x="277667" y="1963670"/>
            <a:ext cx="4725407" cy="4351338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1" dirty="0" smtClean="0"/>
              <a:t>Individual Features (gSpan </a:t>
            </a:r>
            <a:r>
              <a:rPr lang="en-US" b="1" dirty="0" err="1" smtClean="0"/>
              <a:t>Goodware</a:t>
            </a:r>
            <a:r>
              <a:rPr lang="en-US" b="1" dirty="0" smtClean="0"/>
              <a:t>) </a:t>
            </a:r>
            <a:r>
              <a:rPr lang="en-US" dirty="0" smtClean="0"/>
              <a:t>:</a:t>
            </a:r>
          </a:p>
          <a:p>
            <a:pPr algn="l"/>
            <a:endParaRPr lang="en-US" dirty="0" smtClean="0"/>
          </a:p>
          <a:p>
            <a:pPr algn="l"/>
            <a:r>
              <a:rPr lang="en-US" dirty="0"/>
              <a:t>(0, 1, 'L_', '</a:t>
            </a:r>
            <a:r>
              <a:rPr lang="en-US" dirty="0" err="1"/>
              <a:t>L_pushxorcallmov</a:t>
            </a:r>
            <a:r>
              <a:rPr lang="en-US" dirty="0"/>
              <a:t>', 'el')</a:t>
            </a:r>
          </a:p>
          <a:p>
            <a:pPr algn="l"/>
            <a:r>
              <a:rPr lang="en-US" dirty="0"/>
              <a:t>(1, 2, '</a:t>
            </a:r>
            <a:r>
              <a:rPr lang="en-US" dirty="0" err="1"/>
              <a:t>L_pushxorcallmov</a:t>
            </a:r>
            <a:r>
              <a:rPr lang="en-US" dirty="0"/>
              <a:t>', '</a:t>
            </a:r>
            <a:r>
              <a:rPr lang="en-US" dirty="0" err="1"/>
              <a:t>L_callmov</a:t>
            </a:r>
            <a:r>
              <a:rPr lang="en-US" dirty="0"/>
              <a:t>', 'el')</a:t>
            </a:r>
          </a:p>
          <a:p>
            <a:pPr algn="l"/>
            <a:r>
              <a:rPr lang="en-US" dirty="0"/>
              <a:t>(2, 3, '</a:t>
            </a:r>
            <a:r>
              <a:rPr lang="en-US" dirty="0" err="1"/>
              <a:t>L_callmov</a:t>
            </a:r>
            <a:r>
              <a:rPr lang="en-US" dirty="0"/>
              <a:t>', '</a:t>
            </a:r>
            <a:r>
              <a:rPr lang="en-US" dirty="0" err="1"/>
              <a:t>L_xorsubjmpmovaddcallpushcmp</a:t>
            </a:r>
            <a:r>
              <a:rPr lang="en-US" dirty="0"/>
              <a:t>', 'el')</a:t>
            </a:r>
          </a:p>
          <a:p>
            <a:pPr algn="l"/>
            <a:r>
              <a:rPr lang="en-US" dirty="0"/>
              <a:t>(3, 4, '</a:t>
            </a:r>
            <a:r>
              <a:rPr lang="en-US" dirty="0" err="1"/>
              <a:t>L_xorsubjmpmovaddcallpushcmp</a:t>
            </a:r>
            <a:r>
              <a:rPr lang="en-US" dirty="0"/>
              <a:t>', '</a:t>
            </a:r>
            <a:r>
              <a:rPr lang="en-US" dirty="0" err="1"/>
              <a:t>L_xorsubjmpmovaddcallpushcmp</a:t>
            </a:r>
            <a:r>
              <a:rPr lang="en-US" dirty="0"/>
              <a:t>', 'el')</a:t>
            </a:r>
          </a:p>
          <a:p>
            <a:pPr algn="l"/>
            <a:r>
              <a:rPr lang="en-US" dirty="0"/>
              <a:t>(2, 5, '</a:t>
            </a:r>
            <a:r>
              <a:rPr lang="en-US" dirty="0" err="1"/>
              <a:t>L_callmov</a:t>
            </a:r>
            <a:r>
              <a:rPr lang="en-US" dirty="0"/>
              <a:t>', '</a:t>
            </a:r>
            <a:r>
              <a:rPr lang="en-US" dirty="0" err="1"/>
              <a:t>L_xorsubjmpmovaddcallpushcmp</a:t>
            </a:r>
            <a:r>
              <a:rPr lang="en-US" dirty="0"/>
              <a:t>', 'el</a:t>
            </a:r>
            <a:r>
              <a:rPr lang="en-US" dirty="0" smtClean="0"/>
              <a:t>')</a:t>
            </a:r>
          </a:p>
          <a:p>
            <a:pPr algn="l"/>
            <a:r>
              <a:rPr lang="en-US" dirty="0" smtClean="0"/>
              <a:t>.</a:t>
            </a:r>
          </a:p>
          <a:p>
            <a:pPr algn="l"/>
            <a:r>
              <a:rPr lang="en-US" dirty="0" smtClean="0"/>
              <a:t>.</a:t>
            </a:r>
          </a:p>
          <a:p>
            <a:pPr algn="l"/>
            <a:r>
              <a:rPr lang="en-US" dirty="0" smtClean="0"/>
              <a:t>4500 patterns </a:t>
            </a:r>
            <a:endParaRPr lang="en-US" dirty="0"/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156073" y="418702"/>
            <a:ext cx="5434067" cy="718512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7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400" b="1" dirty="0" smtClean="0"/>
              <a:t>Experimental Results (Step:1)</a:t>
            </a:r>
            <a:endParaRPr lang="en-US" sz="4400" b="1" dirty="0"/>
          </a:p>
        </p:txBody>
      </p:sp>
      <p:sp>
        <p:nvSpPr>
          <p:cNvPr id="4" name="Rectangle 3"/>
          <p:cNvSpPr/>
          <p:nvPr/>
        </p:nvSpPr>
        <p:spPr>
          <a:xfrm>
            <a:off x="8835081" y="678249"/>
            <a:ext cx="2248930" cy="433859"/>
          </a:xfrm>
          <a:prstGeom prst="rect">
            <a:avLst/>
          </a:prstGeom>
          <a:solidFill>
            <a:srgbClr val="008B8B"/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_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6654800" y="2003812"/>
            <a:ext cx="2248930" cy="433859"/>
          </a:xfrm>
          <a:prstGeom prst="rect">
            <a:avLst/>
          </a:prstGeom>
          <a:solidFill>
            <a:srgbClr val="008B8B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L_pushxorcallmov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6654800" y="3432563"/>
            <a:ext cx="2248930" cy="433859"/>
          </a:xfrm>
          <a:prstGeom prst="rect">
            <a:avLst/>
          </a:prstGeom>
          <a:solidFill>
            <a:srgbClr val="008B8B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L_callmov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518658" y="2518118"/>
            <a:ext cx="2666870" cy="459810"/>
          </a:xfrm>
          <a:prstGeom prst="rect">
            <a:avLst/>
          </a:prstGeom>
          <a:solidFill>
            <a:srgbClr val="008B8B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L_xorsubjmpmovaddcallpushcmp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6349789" y="5048295"/>
            <a:ext cx="2871898" cy="433859"/>
          </a:xfrm>
          <a:prstGeom prst="rect">
            <a:avLst/>
          </a:prstGeom>
          <a:solidFill>
            <a:srgbClr val="008B8B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'</a:t>
            </a:r>
            <a:r>
              <a:rPr lang="en-US" dirty="0" err="1"/>
              <a:t>L_xorsubjmpmovaddcallpushcmp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8686799" y="5863665"/>
            <a:ext cx="3187338" cy="593935"/>
          </a:xfrm>
          <a:prstGeom prst="rect">
            <a:avLst/>
          </a:prstGeom>
          <a:solidFill>
            <a:srgbClr val="008B8B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L_xorsubjmpmovaddcallpushcmp</a:t>
            </a:r>
            <a:endParaRPr lang="en-US" dirty="0"/>
          </a:p>
        </p:txBody>
      </p:sp>
      <p:cxnSp>
        <p:nvCxnSpPr>
          <p:cNvPr id="11" name="Straight Connector 10"/>
          <p:cNvCxnSpPr>
            <a:stCxn id="4" idx="2"/>
            <a:endCxn id="5" idx="0"/>
          </p:cNvCxnSpPr>
          <p:nvPr/>
        </p:nvCxnSpPr>
        <p:spPr>
          <a:xfrm flipH="1">
            <a:off x="7779265" y="1112108"/>
            <a:ext cx="2180281" cy="891704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stCxn id="5" idx="2"/>
            <a:endCxn id="7" idx="0"/>
          </p:cNvCxnSpPr>
          <p:nvPr/>
        </p:nvCxnSpPr>
        <p:spPr>
          <a:xfrm>
            <a:off x="7779265" y="2437671"/>
            <a:ext cx="0" cy="994892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>
            <a:stCxn id="7" idx="2"/>
            <a:endCxn id="9" idx="0"/>
          </p:cNvCxnSpPr>
          <p:nvPr/>
        </p:nvCxnSpPr>
        <p:spPr>
          <a:xfrm>
            <a:off x="7779265" y="3866422"/>
            <a:ext cx="6473" cy="1181873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Elbow Connector 18"/>
          <p:cNvCxnSpPr>
            <a:stCxn id="9" idx="2"/>
          </p:cNvCxnSpPr>
          <p:nvPr/>
        </p:nvCxnSpPr>
        <p:spPr>
          <a:xfrm rot="16200000" flipH="1">
            <a:off x="7881447" y="5386444"/>
            <a:ext cx="709643" cy="901061"/>
          </a:xfrm>
          <a:prstGeom prst="bentConnector2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8353137" y="1320800"/>
            <a:ext cx="42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l</a:t>
            </a:r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7779265" y="4300281"/>
            <a:ext cx="42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l</a:t>
            </a:r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7785738" y="2862819"/>
            <a:ext cx="42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l</a:t>
            </a:r>
            <a:endParaRPr lang="en-US" dirty="0"/>
          </a:p>
        </p:txBody>
      </p:sp>
      <p:cxnSp>
        <p:nvCxnSpPr>
          <p:cNvPr id="53" name="Straight Connector 52"/>
          <p:cNvCxnSpPr>
            <a:stCxn id="7" idx="3"/>
            <a:endCxn id="8" idx="2"/>
          </p:cNvCxnSpPr>
          <p:nvPr/>
        </p:nvCxnSpPr>
        <p:spPr>
          <a:xfrm flipV="1">
            <a:off x="8903730" y="2977928"/>
            <a:ext cx="1948363" cy="671565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356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6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7" grpId="0" animBg="1"/>
      <p:bldP spid="8" grpId="0" animBg="1"/>
      <p:bldP spid="9" grpId="0" animBg="1"/>
      <p:bldP spid="10" grpId="0" animBg="1"/>
      <p:bldP spid="21" grpId="0"/>
      <p:bldP spid="24" grpId="0"/>
      <p:bldP spid="2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377" y="313508"/>
            <a:ext cx="7134413" cy="674358"/>
          </a:xfrm>
        </p:spPr>
        <p:txBody>
          <a:bodyPr>
            <a:normAutofit/>
          </a:bodyPr>
          <a:lstStyle/>
          <a:p>
            <a:r>
              <a:rPr lang="en-US" sz="3600" b="1" dirty="0"/>
              <a:t>Experimental Results (Step:1</a:t>
            </a:r>
            <a:r>
              <a:rPr lang="en-US" sz="3600" b="1" dirty="0" smtClean="0"/>
              <a:t>) Cont..</a:t>
            </a:r>
            <a:endParaRPr lang="en-US" sz="3600" b="1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79377" y="1903206"/>
            <a:ext cx="6517366" cy="3820240"/>
          </a:xfrm>
          <a:prstGeom prst="rect">
            <a:avLst/>
          </a:prstGeom>
        </p:spPr>
        <p:txBody>
          <a:bodyPr vert="horz" lIns="91440" tIns="45720" rIns="91440" bIns="45720" rtlCol="0">
            <a:normAutofit fontScale="5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600" b="1" dirty="0" smtClean="0"/>
              <a:t>I</a:t>
            </a:r>
            <a:r>
              <a:rPr lang="en-US" b="1" dirty="0" smtClean="0"/>
              <a:t>ndividual Features (</a:t>
            </a:r>
            <a:r>
              <a:rPr lang="en-US" b="1" dirty="0" err="1" smtClean="0"/>
              <a:t>MaxPWS</a:t>
            </a:r>
            <a:r>
              <a:rPr lang="en-US" b="1" dirty="0" smtClean="0"/>
              <a:t> </a:t>
            </a:r>
            <a:r>
              <a:rPr lang="en-US" b="1" dirty="0" err="1"/>
              <a:t>G</a:t>
            </a:r>
            <a:r>
              <a:rPr lang="en-US" b="1" dirty="0" err="1" smtClean="0"/>
              <a:t>oodware</a:t>
            </a:r>
            <a:r>
              <a:rPr lang="en-US" b="1" dirty="0" smtClean="0"/>
              <a:t>) : </a:t>
            </a:r>
          </a:p>
          <a:p>
            <a:pPr marL="0" indent="0">
              <a:buNone/>
            </a:pPr>
            <a:endParaRPr lang="en-US" sz="2600" b="1" dirty="0"/>
          </a:p>
          <a:p>
            <a:pPr marL="0" indent="0">
              <a:buNone/>
            </a:pPr>
            <a:r>
              <a:rPr lang="en-US" dirty="0"/>
              <a:t>(0, 1, '</a:t>
            </a:r>
            <a:r>
              <a:rPr lang="en-US" dirty="0" err="1"/>
              <a:t>L_leaaddcallmov</a:t>
            </a:r>
            <a:r>
              <a:rPr lang="en-US" dirty="0"/>
              <a:t>', '</a:t>
            </a:r>
            <a:r>
              <a:rPr lang="en-US" dirty="0" err="1"/>
              <a:t>L_pushleaxormovcall</a:t>
            </a:r>
            <a:r>
              <a:rPr lang="en-US" dirty="0"/>
              <a:t>', 'el', 16.0)</a:t>
            </a:r>
          </a:p>
          <a:p>
            <a:pPr marL="0" indent="0">
              <a:buNone/>
            </a:pPr>
            <a:r>
              <a:rPr lang="en-US" dirty="0"/>
              <a:t>(1, 2, '</a:t>
            </a:r>
            <a:r>
              <a:rPr lang="en-US" dirty="0" err="1"/>
              <a:t>L_pushleaxormovcall</a:t>
            </a:r>
            <a:r>
              <a:rPr lang="en-US" dirty="0"/>
              <a:t>', '</a:t>
            </a:r>
            <a:r>
              <a:rPr lang="en-US" dirty="0" err="1"/>
              <a:t>L_leacallmovsub</a:t>
            </a:r>
            <a:r>
              <a:rPr lang="en-US" dirty="0"/>
              <a:t>', 'el', 15.0)</a:t>
            </a:r>
          </a:p>
          <a:p>
            <a:pPr marL="0" indent="0">
              <a:buNone/>
            </a:pPr>
            <a:r>
              <a:rPr lang="en-US" dirty="0"/>
              <a:t>(2, 3, '</a:t>
            </a:r>
            <a:r>
              <a:rPr lang="en-US" dirty="0" err="1"/>
              <a:t>L_leacallmovsub</a:t>
            </a:r>
            <a:r>
              <a:rPr lang="en-US" dirty="0"/>
              <a:t>', '</a:t>
            </a:r>
            <a:r>
              <a:rPr lang="en-US" dirty="0" err="1"/>
              <a:t>L_leaxorsubjmpmovaddcallpushcmp</a:t>
            </a:r>
            <a:r>
              <a:rPr lang="en-US" dirty="0"/>
              <a:t>', 'el', 17.0)</a:t>
            </a:r>
          </a:p>
          <a:p>
            <a:pPr marL="0" indent="0">
              <a:buNone/>
            </a:pPr>
            <a:r>
              <a:rPr lang="en-US" dirty="0"/>
              <a:t>(1, 4, '</a:t>
            </a:r>
            <a:r>
              <a:rPr lang="en-US" dirty="0" err="1"/>
              <a:t>L_pushleaxormovcall</a:t>
            </a:r>
            <a:r>
              <a:rPr lang="en-US" dirty="0"/>
              <a:t>', '</a:t>
            </a:r>
            <a:r>
              <a:rPr lang="en-US" dirty="0" err="1"/>
              <a:t>L_xorsubjmpmovaddcallpushcmp</a:t>
            </a:r>
            <a:r>
              <a:rPr lang="en-US" dirty="0"/>
              <a:t>', 'el', 23.0)</a:t>
            </a:r>
          </a:p>
          <a:p>
            <a:pPr marL="0" indent="0">
              <a:buNone/>
            </a:pPr>
            <a:r>
              <a:rPr lang="en-US" dirty="0"/>
              <a:t>(1, 5, '</a:t>
            </a:r>
            <a:r>
              <a:rPr lang="en-US" dirty="0" err="1"/>
              <a:t>L_pushleaxormovcall</a:t>
            </a:r>
            <a:r>
              <a:rPr lang="en-US" dirty="0"/>
              <a:t>', '</a:t>
            </a:r>
            <a:r>
              <a:rPr lang="en-US" dirty="0" err="1"/>
              <a:t>L_xorsubjmpmovaddcallpushcmp</a:t>
            </a:r>
            <a:r>
              <a:rPr lang="en-US" dirty="0"/>
              <a:t>', 'el', 26.6)</a:t>
            </a:r>
          </a:p>
          <a:p>
            <a:pPr marL="0" indent="0">
              <a:buNone/>
            </a:pPr>
            <a:r>
              <a:rPr lang="en-US" dirty="0"/>
              <a:t>(1, 6, '</a:t>
            </a:r>
            <a:r>
              <a:rPr lang="en-US" dirty="0" err="1"/>
              <a:t>L_pushleaxormovcall</a:t>
            </a:r>
            <a:r>
              <a:rPr lang="en-US" dirty="0"/>
              <a:t>', '</a:t>
            </a:r>
            <a:r>
              <a:rPr lang="en-US" dirty="0" err="1"/>
              <a:t>L_xorsubjmpmovaddcallpushcmp</a:t>
            </a:r>
            <a:r>
              <a:rPr lang="en-US" dirty="0"/>
              <a:t>', 'el', 29.0</a:t>
            </a:r>
            <a:r>
              <a:rPr lang="en-US" dirty="0" smtClean="0"/>
              <a:t>)</a:t>
            </a:r>
          </a:p>
          <a:p>
            <a:pPr marL="0" indent="0">
              <a:buNone/>
            </a:pPr>
            <a:r>
              <a:rPr lang="en-US" dirty="0" smtClean="0"/>
              <a:t>…</a:t>
            </a:r>
          </a:p>
          <a:p>
            <a:pPr marL="0" indent="0">
              <a:buNone/>
            </a:pPr>
            <a:r>
              <a:rPr lang="en-US" dirty="0"/>
              <a:t>109500 patterns </a:t>
            </a:r>
          </a:p>
        </p:txBody>
      </p:sp>
      <p:sp>
        <p:nvSpPr>
          <p:cNvPr id="5" name="Rectangle 4"/>
          <p:cNvSpPr/>
          <p:nvPr/>
        </p:nvSpPr>
        <p:spPr>
          <a:xfrm>
            <a:off x="7366550" y="290392"/>
            <a:ext cx="2248930" cy="433859"/>
          </a:xfrm>
          <a:prstGeom prst="rect">
            <a:avLst/>
          </a:prstGeom>
          <a:solidFill>
            <a:srgbClr val="008B8B"/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L_leaaddcallmov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6603215" y="1579046"/>
            <a:ext cx="2248930" cy="433859"/>
          </a:xfrm>
          <a:prstGeom prst="rect">
            <a:avLst/>
          </a:prstGeom>
          <a:solidFill>
            <a:srgbClr val="008B8B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L_pushleaxormovcal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6596743" y="3176662"/>
            <a:ext cx="2248930" cy="433859"/>
          </a:xfrm>
          <a:prstGeom prst="rect">
            <a:avLst/>
          </a:prstGeom>
          <a:solidFill>
            <a:srgbClr val="008B8B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L_leacallmovsub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469954" y="2394918"/>
            <a:ext cx="2666870" cy="628770"/>
          </a:xfrm>
          <a:prstGeom prst="rect">
            <a:avLst/>
          </a:prstGeom>
          <a:solidFill>
            <a:srgbClr val="008B8B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L_xorsubjmpmovaddcallpushcmp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6292443" y="4646990"/>
            <a:ext cx="2871898" cy="592605"/>
          </a:xfrm>
          <a:prstGeom prst="rect">
            <a:avLst/>
          </a:prstGeom>
          <a:solidFill>
            <a:srgbClr val="008B8B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L_leaxorsubjmpmovaddcallpushcmp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8922826" y="5591652"/>
            <a:ext cx="3187338" cy="593935"/>
          </a:xfrm>
          <a:prstGeom prst="rect">
            <a:avLst/>
          </a:prstGeom>
          <a:solidFill>
            <a:srgbClr val="008B8B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L_xorsubjmpmovaddcallpushcmp</a:t>
            </a:r>
            <a:endParaRPr lang="en-US" dirty="0"/>
          </a:p>
        </p:txBody>
      </p:sp>
      <p:cxnSp>
        <p:nvCxnSpPr>
          <p:cNvPr id="11" name="Straight Connector 10"/>
          <p:cNvCxnSpPr>
            <a:stCxn id="5" idx="2"/>
            <a:endCxn id="6" idx="0"/>
          </p:cNvCxnSpPr>
          <p:nvPr/>
        </p:nvCxnSpPr>
        <p:spPr>
          <a:xfrm flipH="1">
            <a:off x="7727680" y="724251"/>
            <a:ext cx="763335" cy="854795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stCxn id="6" idx="2"/>
            <a:endCxn id="7" idx="0"/>
          </p:cNvCxnSpPr>
          <p:nvPr/>
        </p:nvCxnSpPr>
        <p:spPr>
          <a:xfrm flipH="1">
            <a:off x="7721208" y="2012905"/>
            <a:ext cx="6472" cy="1163757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>
            <a:stCxn id="7" idx="2"/>
            <a:endCxn id="9" idx="0"/>
          </p:cNvCxnSpPr>
          <p:nvPr/>
        </p:nvCxnSpPr>
        <p:spPr>
          <a:xfrm>
            <a:off x="7721208" y="3610521"/>
            <a:ext cx="7184" cy="1036469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8065755" y="1076308"/>
            <a:ext cx="42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l</a:t>
            </a: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7729011" y="4016915"/>
            <a:ext cx="42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l</a:t>
            </a:r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7853125" y="2617399"/>
            <a:ext cx="42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l</a:t>
            </a:r>
            <a:endParaRPr lang="en-US" dirty="0"/>
          </a:p>
        </p:txBody>
      </p:sp>
      <p:cxnSp>
        <p:nvCxnSpPr>
          <p:cNvPr id="18" name="Straight Connector 17"/>
          <p:cNvCxnSpPr>
            <a:stCxn id="6" idx="3"/>
            <a:endCxn id="8" idx="1"/>
          </p:cNvCxnSpPr>
          <p:nvPr/>
        </p:nvCxnSpPr>
        <p:spPr>
          <a:xfrm>
            <a:off x="8852145" y="1795976"/>
            <a:ext cx="617809" cy="913327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7501069" y="891642"/>
            <a:ext cx="7264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16.0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7076612" y="2617399"/>
            <a:ext cx="7817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15.0</a:t>
            </a:r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7110216" y="4051939"/>
            <a:ext cx="7817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17.0</a:t>
            </a:r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9185369" y="1876072"/>
            <a:ext cx="7817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23.0</a:t>
            </a:r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8399755" y="2254914"/>
            <a:ext cx="42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l</a:t>
            </a:r>
            <a:endParaRPr lang="en-US" dirty="0"/>
          </a:p>
        </p:txBody>
      </p:sp>
      <p:cxnSp>
        <p:nvCxnSpPr>
          <p:cNvPr id="36" name="Straight Connector 35"/>
          <p:cNvCxnSpPr>
            <a:endCxn id="10" idx="0"/>
          </p:cNvCxnSpPr>
          <p:nvPr/>
        </p:nvCxnSpPr>
        <p:spPr>
          <a:xfrm>
            <a:off x="8514006" y="2019566"/>
            <a:ext cx="2002489" cy="3572086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9999464" y="4277658"/>
            <a:ext cx="7817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26.6</a:t>
            </a:r>
            <a:endParaRPr lang="en-US" dirty="0"/>
          </a:p>
        </p:txBody>
      </p:sp>
      <p:sp>
        <p:nvSpPr>
          <p:cNvPr id="38" name="TextBox 37"/>
          <p:cNvSpPr txBox="1"/>
          <p:nvPr/>
        </p:nvSpPr>
        <p:spPr>
          <a:xfrm>
            <a:off x="9275904" y="4236605"/>
            <a:ext cx="42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l</a:t>
            </a:r>
            <a:endParaRPr lang="en-US" dirty="0"/>
          </a:p>
        </p:txBody>
      </p:sp>
      <p:sp>
        <p:nvSpPr>
          <p:cNvPr id="40" name="Rectangle 39"/>
          <p:cNvSpPr/>
          <p:nvPr/>
        </p:nvSpPr>
        <p:spPr>
          <a:xfrm>
            <a:off x="5356066" y="5654460"/>
            <a:ext cx="2871898" cy="592605"/>
          </a:xfrm>
          <a:prstGeom prst="rect">
            <a:avLst/>
          </a:prstGeom>
          <a:solidFill>
            <a:srgbClr val="008B8B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L_leaxorsubjmpmovaddcallpushcmp</a:t>
            </a:r>
            <a:endParaRPr lang="en-US" dirty="0"/>
          </a:p>
        </p:txBody>
      </p:sp>
      <p:cxnSp>
        <p:nvCxnSpPr>
          <p:cNvPr id="44" name="Elbow Connector 43"/>
          <p:cNvCxnSpPr>
            <a:stCxn id="6" idx="1"/>
          </p:cNvCxnSpPr>
          <p:nvPr/>
        </p:nvCxnSpPr>
        <p:spPr>
          <a:xfrm rot="10800000" flipV="1">
            <a:off x="6070169" y="1795976"/>
            <a:ext cx="533047" cy="3927470"/>
          </a:xfrm>
          <a:prstGeom prst="bentConnector2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5449306" y="5077696"/>
            <a:ext cx="7817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29.0</a:t>
            </a:r>
            <a:endParaRPr lang="en-US" dirty="0"/>
          </a:p>
        </p:txBody>
      </p:sp>
      <p:sp>
        <p:nvSpPr>
          <p:cNvPr id="65" name="TextBox 64"/>
          <p:cNvSpPr txBox="1"/>
          <p:nvPr/>
        </p:nvSpPr>
        <p:spPr>
          <a:xfrm>
            <a:off x="8939266" y="2204232"/>
            <a:ext cx="42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l</a:t>
            </a:r>
            <a:endParaRPr lang="en-US" dirty="0"/>
          </a:p>
        </p:txBody>
      </p:sp>
      <p:sp>
        <p:nvSpPr>
          <p:cNvPr id="67" name="TextBox 66"/>
          <p:cNvSpPr txBox="1"/>
          <p:nvPr/>
        </p:nvSpPr>
        <p:spPr>
          <a:xfrm>
            <a:off x="5559238" y="4386247"/>
            <a:ext cx="42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996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0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3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5" grpId="0"/>
      <p:bldP spid="16" grpId="0"/>
      <p:bldP spid="17" grpId="0"/>
      <p:bldP spid="19" grpId="0"/>
      <p:bldP spid="20" grpId="0"/>
      <p:bldP spid="22" grpId="0"/>
      <p:bldP spid="24" grpId="0"/>
      <p:bldP spid="25" grpId="0"/>
      <p:bldP spid="37" grpId="0"/>
      <p:bldP spid="38" grpId="0"/>
      <p:bldP spid="40" grpId="0" animBg="1"/>
      <p:bldP spid="46" grpId="0"/>
      <p:bldP spid="65" grpId="0"/>
      <p:bldP spid="67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2500" y="356280"/>
            <a:ext cx="10515600" cy="1211263"/>
          </a:xfrm>
        </p:spPr>
        <p:txBody>
          <a:bodyPr/>
          <a:lstStyle/>
          <a:p>
            <a:pPr algn="ctr"/>
            <a:r>
              <a:rPr lang="en-US" b="1" dirty="0"/>
              <a:t>Experimental Results (</a:t>
            </a:r>
            <a:r>
              <a:rPr lang="en-US" b="1" dirty="0" smtClean="0"/>
              <a:t>Step:2)</a:t>
            </a:r>
            <a:endParaRPr lang="en-US" b="1" dirty="0"/>
          </a:p>
        </p:txBody>
      </p:sp>
      <p:sp>
        <p:nvSpPr>
          <p:cNvPr id="6" name="TextBox 5"/>
          <p:cNvSpPr txBox="1"/>
          <p:nvPr/>
        </p:nvSpPr>
        <p:spPr>
          <a:xfrm>
            <a:off x="952500" y="1690688"/>
            <a:ext cx="6375400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3200" b="1" dirty="0" smtClean="0">
                <a:latin typeface="+mj-lt"/>
                <a:ea typeface="+mj-ea"/>
                <a:cs typeface="+mj-cs"/>
              </a:rPr>
              <a:t>  Combine</a:t>
            </a:r>
            <a:r>
              <a:rPr lang="en-US" dirty="0" smtClean="0"/>
              <a:t> </a:t>
            </a:r>
            <a:r>
              <a:rPr lang="en-US" sz="3200" b="1" dirty="0">
                <a:latin typeface="+mj-lt"/>
                <a:ea typeface="+mj-ea"/>
                <a:cs typeface="+mj-cs"/>
              </a:rPr>
              <a:t>features: </a:t>
            </a:r>
          </a:p>
        </p:txBody>
      </p:sp>
      <p:sp>
        <p:nvSpPr>
          <p:cNvPr id="3" name="Rectangle 2"/>
          <p:cNvSpPr/>
          <p:nvPr/>
        </p:nvSpPr>
        <p:spPr>
          <a:xfrm>
            <a:off x="1894114" y="2857499"/>
            <a:ext cx="2560320" cy="1333500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  <a:ln>
            <a:solidFill>
              <a:srgbClr val="008B8B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iscriminative Features (</a:t>
            </a:r>
            <a:r>
              <a:rPr lang="en-US" dirty="0" err="1" smtClean="0"/>
              <a:t>Goodware</a:t>
            </a:r>
            <a:r>
              <a:rPr lang="en-US" dirty="0" smtClean="0"/>
              <a:t>)</a:t>
            </a:r>
          </a:p>
          <a:p>
            <a:pPr algn="ctr"/>
            <a:r>
              <a:rPr lang="en-US" dirty="0" smtClean="0"/>
              <a:t>(G-M)</a:t>
            </a:r>
          </a:p>
          <a:p>
            <a:pPr algn="ctr"/>
            <a:r>
              <a:rPr lang="en-US" dirty="0"/>
              <a:t>A</a:t>
            </a:r>
          </a:p>
        </p:txBody>
      </p:sp>
      <p:sp>
        <p:nvSpPr>
          <p:cNvPr id="5" name="Rectangle 4"/>
          <p:cNvSpPr/>
          <p:nvPr/>
        </p:nvSpPr>
        <p:spPr>
          <a:xfrm>
            <a:off x="8267700" y="2854232"/>
            <a:ext cx="2413000" cy="1333499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  <a:ln>
            <a:solidFill>
              <a:srgbClr val="008B8B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iscriminative Features (Malware</a:t>
            </a:r>
            <a:r>
              <a:rPr lang="en-US" dirty="0"/>
              <a:t>)</a:t>
            </a:r>
          </a:p>
          <a:p>
            <a:pPr algn="ctr"/>
            <a:r>
              <a:rPr lang="en-US" dirty="0" smtClean="0"/>
              <a:t>(M – G)</a:t>
            </a:r>
          </a:p>
          <a:p>
            <a:pPr algn="ctr"/>
            <a:r>
              <a:rPr lang="en-US" dirty="0"/>
              <a:t>B</a:t>
            </a:r>
            <a:endParaRPr lang="en-US" dirty="0" smtClean="0"/>
          </a:p>
        </p:txBody>
      </p:sp>
      <p:sp>
        <p:nvSpPr>
          <p:cNvPr id="7" name="Rectangle 6"/>
          <p:cNvSpPr/>
          <p:nvPr/>
        </p:nvSpPr>
        <p:spPr>
          <a:xfrm>
            <a:off x="5250724" y="3733255"/>
            <a:ext cx="2220686" cy="2351314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  <a:ln>
            <a:solidFill>
              <a:srgbClr val="008B8B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ombined Features of </a:t>
            </a:r>
            <a:r>
              <a:rPr lang="en-US" dirty="0" err="1" smtClean="0"/>
              <a:t>Goodware</a:t>
            </a:r>
            <a:r>
              <a:rPr lang="en-US" dirty="0" smtClean="0"/>
              <a:t> and Malware.</a:t>
            </a:r>
          </a:p>
          <a:p>
            <a:pPr algn="ctr"/>
            <a:r>
              <a:rPr lang="en-US" dirty="0" smtClean="0"/>
              <a:t>(A union B)</a:t>
            </a:r>
            <a:endParaRPr lang="en-US" dirty="0"/>
          </a:p>
        </p:txBody>
      </p:sp>
      <p:cxnSp>
        <p:nvCxnSpPr>
          <p:cNvPr id="9" name="Elbow Connector 8"/>
          <p:cNvCxnSpPr>
            <a:stCxn id="3" idx="2"/>
            <a:endCxn id="7" idx="1"/>
          </p:cNvCxnSpPr>
          <p:nvPr/>
        </p:nvCxnSpPr>
        <p:spPr>
          <a:xfrm rot="16200000" flipH="1">
            <a:off x="3853543" y="3511730"/>
            <a:ext cx="717913" cy="2076450"/>
          </a:xfrm>
          <a:prstGeom prst="bentConnector2">
            <a:avLst/>
          </a:prstGeom>
          <a:ln>
            <a:solidFill>
              <a:srgbClr val="008B8B"/>
            </a:solidFill>
            <a:headEnd w="lg" len="lg"/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1" name="Elbow Connector 10"/>
          <p:cNvCxnSpPr>
            <a:stCxn id="5" idx="2"/>
            <a:endCxn id="7" idx="3"/>
          </p:cNvCxnSpPr>
          <p:nvPr/>
        </p:nvCxnSpPr>
        <p:spPr>
          <a:xfrm rot="5400000">
            <a:off x="8112215" y="3546926"/>
            <a:ext cx="721181" cy="2002790"/>
          </a:xfrm>
          <a:prstGeom prst="bentConnector2">
            <a:avLst/>
          </a:prstGeom>
          <a:ln>
            <a:solidFill>
              <a:srgbClr val="008B8B"/>
            </a:solidFill>
            <a:headEnd w="lg" len="lg"/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0638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8268" y="306680"/>
            <a:ext cx="10515600" cy="1325563"/>
          </a:xfrm>
        </p:spPr>
        <p:txBody>
          <a:bodyPr/>
          <a:lstStyle/>
          <a:p>
            <a:pPr algn="ctr"/>
            <a:r>
              <a:rPr lang="en-US" b="1" dirty="0"/>
              <a:t>Experimental Results (</a:t>
            </a:r>
            <a:r>
              <a:rPr lang="en-US" b="1" dirty="0" smtClean="0"/>
              <a:t>Step:3)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b="1" dirty="0" smtClean="0">
                <a:latin typeface="+mj-lt"/>
                <a:ea typeface="+mj-ea"/>
                <a:cs typeface="+mj-cs"/>
              </a:rPr>
              <a:t>Splitting </a:t>
            </a:r>
            <a:r>
              <a:rPr lang="en-US" sz="3200" b="1" dirty="0">
                <a:latin typeface="+mj-lt"/>
                <a:ea typeface="+mj-ea"/>
                <a:cs typeface="+mj-cs"/>
              </a:rPr>
              <a:t>Train and </a:t>
            </a:r>
            <a:r>
              <a:rPr lang="en-US" sz="3200" b="1" dirty="0" smtClean="0">
                <a:latin typeface="+mj-lt"/>
                <a:ea typeface="+mj-ea"/>
                <a:cs typeface="+mj-cs"/>
              </a:rPr>
              <a:t>Test Set :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 smtClean="0"/>
              <a:t>From dataset we use  70</a:t>
            </a:r>
            <a:r>
              <a:rPr lang="en-US" dirty="0"/>
              <a:t>% threshold </a:t>
            </a:r>
            <a:r>
              <a:rPr lang="en-US" dirty="0" smtClean="0"/>
              <a:t>for unweighted and get </a:t>
            </a:r>
          </a:p>
          <a:p>
            <a:pPr marL="0" indent="0">
              <a:buNone/>
            </a:pPr>
            <a:r>
              <a:rPr lang="en-US" dirty="0" smtClean="0"/>
              <a:t>   913 </a:t>
            </a:r>
            <a:r>
              <a:rPr lang="en-US" dirty="0"/>
              <a:t>x </a:t>
            </a:r>
            <a:r>
              <a:rPr lang="en-US" dirty="0" smtClean="0"/>
              <a:t>4003 dimension of features.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 smtClean="0"/>
              <a:t>From weighted dataset we use </a:t>
            </a:r>
            <a:r>
              <a:rPr lang="en-US" dirty="0"/>
              <a:t>857 </a:t>
            </a:r>
            <a:r>
              <a:rPr lang="en-US" dirty="0" smtClean="0"/>
              <a:t>threshold for 200 graph and get </a:t>
            </a:r>
          </a:p>
          <a:p>
            <a:pPr marL="0" indent="0">
              <a:buNone/>
            </a:pPr>
            <a:r>
              <a:rPr lang="en-US" dirty="0" smtClean="0"/>
              <a:t>    913 </a:t>
            </a:r>
            <a:r>
              <a:rPr lang="en-US" dirty="0"/>
              <a:t>x 4610 </a:t>
            </a:r>
            <a:r>
              <a:rPr lang="en-US" dirty="0" smtClean="0"/>
              <a:t>dimension of features.</a:t>
            </a:r>
          </a:p>
          <a:p>
            <a:pPr marL="0" indent="0">
              <a:buNone/>
            </a:pPr>
            <a:endParaRPr lang="en-US" dirty="0" smtClean="0"/>
          </a:p>
          <a:p>
            <a:pPr>
              <a:buFont typeface="Wingdings" panose="05000000000000000000" pitchFamily="2" charset="2"/>
              <a:buChar char="q"/>
            </a:pPr>
            <a:r>
              <a:rPr lang="en-US" dirty="0" smtClean="0"/>
              <a:t>We used K-fold cross validation to separate training and testing data</a:t>
            </a:r>
          </a:p>
          <a:p>
            <a:pPr marL="0" indent="0">
              <a:buNone/>
            </a:pPr>
            <a:r>
              <a:rPr lang="en-US" dirty="0" smtClean="0"/>
              <a:t>    Where k= 5.</a:t>
            </a:r>
          </a:p>
        </p:txBody>
      </p:sp>
    </p:spTree>
    <p:extLst>
      <p:ext uri="{BB962C8B-B14F-4D97-AF65-F5344CB8AC3E}">
        <p14:creationId xmlns:p14="http://schemas.microsoft.com/office/powerpoint/2010/main" val="15106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8536" y="360516"/>
            <a:ext cx="10515600" cy="1325563"/>
          </a:xfrm>
        </p:spPr>
        <p:txBody>
          <a:bodyPr/>
          <a:lstStyle/>
          <a:p>
            <a:pPr algn="ctr"/>
            <a:r>
              <a:rPr lang="en-US" b="1" dirty="0" smtClean="0"/>
              <a:t>Result Analysis (Step:4)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17522" y="2801630"/>
            <a:ext cx="4400006" cy="4351338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Random Forest:</a:t>
            </a:r>
            <a:endParaRPr lang="en-US" dirty="0"/>
          </a:p>
          <a:p>
            <a:pPr>
              <a:buFont typeface="Wingdings" panose="05000000000000000000" pitchFamily="2" charset="2"/>
              <a:buChar char="q"/>
            </a:pPr>
            <a:r>
              <a:rPr lang="en-US" dirty="0" smtClean="0"/>
              <a:t>Precision</a:t>
            </a:r>
            <a:r>
              <a:rPr lang="en-US" dirty="0"/>
              <a:t>: 80.17%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Recall: 58.89</a:t>
            </a:r>
            <a:r>
              <a:rPr lang="en-US" dirty="0" smtClean="0"/>
              <a:t>%</a:t>
            </a:r>
          </a:p>
          <a:p>
            <a:pPr>
              <a:buFont typeface="Wingdings" panose="05000000000000000000" pitchFamily="2" charset="2"/>
              <a:buChar char="q"/>
            </a:pPr>
            <a:endParaRPr lang="en-US" dirty="0" smtClean="0"/>
          </a:p>
          <a:p>
            <a:pPr marL="0" indent="0">
              <a:buNone/>
            </a:pPr>
            <a:r>
              <a:rPr lang="en-US" dirty="0"/>
              <a:t>Gaussian naive </a:t>
            </a:r>
            <a:r>
              <a:rPr lang="en-US" dirty="0" smtClean="0"/>
              <a:t>Bayes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Precision: 92.23%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Recall: 37.44%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779623" y="2801630"/>
            <a:ext cx="5212080" cy="1512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en-US" sz="2800" dirty="0" smtClean="0">
                <a:solidFill>
                  <a:prstClr val="black"/>
                </a:solidFill>
              </a:rPr>
              <a:t>SVM:</a:t>
            </a:r>
            <a:endParaRPr lang="en-US" sz="2800" dirty="0">
              <a:solidFill>
                <a:prstClr val="black"/>
              </a:solidFill>
            </a:endParaRPr>
          </a:p>
          <a:p>
            <a:pPr marL="228600" lvl="0" indent="-228600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q"/>
            </a:pPr>
            <a:r>
              <a:rPr lang="en-US" sz="2800" dirty="0">
                <a:solidFill>
                  <a:prstClr val="black"/>
                </a:solidFill>
              </a:rPr>
              <a:t>Precision: 80.17%</a:t>
            </a:r>
          </a:p>
          <a:p>
            <a:pPr marL="228600" lvl="0" indent="-228600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q"/>
            </a:pPr>
            <a:r>
              <a:rPr lang="en-US" sz="2800" dirty="0">
                <a:solidFill>
                  <a:prstClr val="black"/>
                </a:solidFill>
              </a:rPr>
              <a:t>Recall: 58.89%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317522" y="1787679"/>
            <a:ext cx="370447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/>
              <a:t>Unweighted Result : </a:t>
            </a:r>
            <a:endParaRPr lang="en-US" sz="3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70885"/>
            <a:ext cx="10515600" cy="1325563"/>
          </a:xfrm>
        </p:spPr>
        <p:txBody>
          <a:bodyPr/>
          <a:lstStyle/>
          <a:p>
            <a:pPr algn="ctr"/>
            <a:r>
              <a:rPr lang="en-US" b="1" dirty="0"/>
              <a:t>Result Analysis (Step:4) 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1543664" y="2700696"/>
            <a:ext cx="440000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dirty="0" smtClean="0"/>
              <a:t>Random Forest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Precision: 83.84%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Recall: 90.77</a:t>
            </a:r>
            <a:r>
              <a:rPr lang="en-US" dirty="0" smtClean="0"/>
              <a:t>%</a:t>
            </a:r>
          </a:p>
          <a:p>
            <a:pPr>
              <a:buFont typeface="Wingdings" panose="05000000000000000000" pitchFamily="2" charset="2"/>
              <a:buChar char="q"/>
            </a:pPr>
            <a:endParaRPr lang="en-US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 smtClean="0"/>
              <a:t>Gaussian naive Bayes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 smtClean="0"/>
              <a:t>Precision: 92.23%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 smtClean="0"/>
              <a:t>Recall: 37.44%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143416" y="2700696"/>
            <a:ext cx="5212080" cy="1512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en-US" sz="2800" dirty="0" smtClean="0">
                <a:solidFill>
                  <a:prstClr val="black"/>
                </a:solidFill>
              </a:rPr>
              <a:t>SVM:</a:t>
            </a:r>
            <a:endParaRPr lang="en-US" sz="2800" dirty="0">
              <a:solidFill>
                <a:prstClr val="black"/>
              </a:solidFill>
            </a:endParaRPr>
          </a:p>
          <a:p>
            <a:pPr marL="228600" lvl="0" indent="-228600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q"/>
            </a:pPr>
            <a:r>
              <a:rPr lang="en-US" sz="2800" dirty="0">
                <a:solidFill>
                  <a:prstClr val="black"/>
                </a:solidFill>
              </a:rPr>
              <a:t>Precision: 80.17%</a:t>
            </a:r>
          </a:p>
          <a:p>
            <a:pPr marL="228600" lvl="0" indent="-228600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q"/>
            </a:pPr>
            <a:r>
              <a:rPr lang="en-US" sz="2800" dirty="0">
                <a:solidFill>
                  <a:prstClr val="black"/>
                </a:solidFill>
              </a:rPr>
              <a:t>Recall: 58.89%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543664" y="1696448"/>
            <a:ext cx="318170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/>
              <a:t>Weighted Result :</a:t>
            </a:r>
            <a:endParaRPr lang="en-US" sz="3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/>
        </p:nvSpPr>
        <p:spPr>
          <a:xfrm>
            <a:off x="5382409" y="990641"/>
            <a:ext cx="918461" cy="767746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.EXE</a:t>
            </a:r>
            <a:endParaRPr lang="en-US" sz="20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269036" y="2003692"/>
            <a:ext cx="2344019" cy="525074"/>
          </a:xfrm>
          <a:prstGeom prst="rect">
            <a:avLst/>
          </a:prstGeom>
          <a:solidFill>
            <a:srgbClr val="008B8B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REVERSE ENGINEERING</a:t>
            </a:r>
            <a:endParaRPr lang="en-US" sz="1600" b="1" dirty="0"/>
          </a:p>
        </p:txBody>
      </p:sp>
      <p:cxnSp>
        <p:nvCxnSpPr>
          <p:cNvPr id="9" name="Elbow Connector 8"/>
          <p:cNvCxnSpPr>
            <a:stCxn id="7" idx="2"/>
            <a:endCxn id="8" idx="1"/>
          </p:cNvCxnSpPr>
          <p:nvPr/>
        </p:nvCxnSpPr>
        <p:spPr>
          <a:xfrm rot="10800000" flipV="1">
            <a:off x="5269037" y="1374513"/>
            <a:ext cx="113373" cy="891715"/>
          </a:xfrm>
          <a:prstGeom prst="bentConnector3">
            <a:avLst>
              <a:gd name="adj1" fmla="val 301635"/>
            </a:avLst>
          </a:prstGeom>
          <a:ln>
            <a:tailEnd type="triangle" w="lg" len="lg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Elbow Connector 10"/>
          <p:cNvCxnSpPr>
            <a:stCxn id="8" idx="1"/>
            <a:endCxn id="16" idx="1"/>
          </p:cNvCxnSpPr>
          <p:nvPr/>
        </p:nvCxnSpPr>
        <p:spPr>
          <a:xfrm rot="10800000" flipV="1">
            <a:off x="5269036" y="2266229"/>
            <a:ext cx="12700" cy="705030"/>
          </a:xfrm>
          <a:prstGeom prst="bentConnector3">
            <a:avLst>
              <a:gd name="adj1" fmla="val 1900000"/>
            </a:avLst>
          </a:prstGeom>
          <a:ln>
            <a:tailEnd type="triangle" w="lg" len="lg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1581391" y="196209"/>
            <a:ext cx="8950840" cy="826713"/>
          </a:xfrm>
        </p:spPr>
        <p:txBody>
          <a:bodyPr>
            <a:noAutofit/>
          </a:bodyPr>
          <a:lstStyle/>
          <a:p>
            <a:r>
              <a:rPr lang="en-US" sz="4400" cap="none" spc="0" dirty="0">
                <a:solidFill>
                  <a:srgbClr val="94B6D2"/>
                </a:solidFill>
                <a:latin typeface="Calibri"/>
              </a:rPr>
              <a:t> </a:t>
            </a:r>
            <a:r>
              <a:rPr lang="en-US" sz="4400" cap="none" spc="0" dirty="0" smtClean="0">
                <a:solidFill>
                  <a:prstClr val="black"/>
                </a:solidFill>
                <a:latin typeface="Calibri"/>
              </a:rPr>
              <a:t>Antivirus Work Flow</a:t>
            </a:r>
            <a:endParaRPr lang="en-US" sz="5400" cap="none" dirty="0">
              <a:latin typeface="Calibri (Headings)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269036" y="2708722"/>
            <a:ext cx="2344019" cy="525074"/>
          </a:xfrm>
          <a:prstGeom prst="rect">
            <a:avLst/>
          </a:prstGeom>
          <a:solidFill>
            <a:srgbClr val="008B8B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ASSEMBLY CODE</a:t>
            </a:r>
            <a:endParaRPr lang="en-US" sz="1600" b="1" dirty="0"/>
          </a:p>
        </p:txBody>
      </p:sp>
      <p:sp>
        <p:nvSpPr>
          <p:cNvPr id="21" name="Rectangle 20">
            <a:hlinkClick r:id="" action="ppaction://customshow?id=0&amp;return=true"/>
          </p:cNvPr>
          <p:cNvSpPr/>
          <p:nvPr/>
        </p:nvSpPr>
        <p:spPr>
          <a:xfrm>
            <a:off x="5307136" y="3413752"/>
            <a:ext cx="2344019" cy="525074"/>
          </a:xfrm>
          <a:prstGeom prst="rect">
            <a:avLst/>
          </a:prstGeom>
          <a:solidFill>
            <a:srgbClr val="008B8B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CALL GRAPH</a:t>
            </a:r>
            <a:endParaRPr lang="en-US" sz="1600" b="1" dirty="0"/>
          </a:p>
        </p:txBody>
      </p:sp>
      <p:cxnSp>
        <p:nvCxnSpPr>
          <p:cNvPr id="22" name="Elbow Connector 21"/>
          <p:cNvCxnSpPr>
            <a:endCxn id="21" idx="1"/>
          </p:cNvCxnSpPr>
          <p:nvPr/>
        </p:nvCxnSpPr>
        <p:spPr>
          <a:xfrm rot="16200000" flipH="1">
            <a:off x="4824331" y="3193483"/>
            <a:ext cx="697811" cy="267799"/>
          </a:xfrm>
          <a:prstGeom prst="bentConnector2">
            <a:avLst/>
          </a:prstGeom>
          <a:ln>
            <a:tailEnd type="triangle" w="lg" len="lg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7" name="Oval 26"/>
          <p:cNvSpPr/>
          <p:nvPr/>
        </p:nvSpPr>
        <p:spPr>
          <a:xfrm>
            <a:off x="5476301" y="4048506"/>
            <a:ext cx="1600612" cy="871090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CLASSIFIER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171000" y="5260257"/>
            <a:ext cx="1386395" cy="43576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/>
              <a:t>MALWARE</a:t>
            </a:r>
            <a:endParaRPr lang="en-US" b="1" dirty="0"/>
          </a:p>
        </p:txBody>
      </p:sp>
      <p:sp>
        <p:nvSpPr>
          <p:cNvPr id="29" name="Rectangle 28"/>
          <p:cNvSpPr/>
          <p:nvPr/>
        </p:nvSpPr>
        <p:spPr>
          <a:xfrm>
            <a:off x="5357701" y="5260257"/>
            <a:ext cx="1576782" cy="467461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/>
              <a:t>UNKNOWN</a:t>
            </a:r>
            <a:endParaRPr lang="en-US" sz="2000" b="1" dirty="0"/>
          </a:p>
        </p:txBody>
      </p:sp>
      <p:sp>
        <p:nvSpPr>
          <p:cNvPr id="30" name="Rectangle 29"/>
          <p:cNvSpPr/>
          <p:nvPr/>
        </p:nvSpPr>
        <p:spPr>
          <a:xfrm>
            <a:off x="8434086" y="5260257"/>
            <a:ext cx="1542042" cy="467461"/>
          </a:xfrm>
          <a:prstGeom prst="rect">
            <a:avLst/>
          </a:prstGeom>
          <a:solidFill>
            <a:srgbClr val="00206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BENIGN</a:t>
            </a:r>
          </a:p>
        </p:txBody>
      </p:sp>
      <p:sp>
        <p:nvSpPr>
          <p:cNvPr id="31" name="Oval 30"/>
          <p:cNvSpPr/>
          <p:nvPr/>
        </p:nvSpPr>
        <p:spPr>
          <a:xfrm>
            <a:off x="6117114" y="6018884"/>
            <a:ext cx="1478371" cy="602499"/>
          </a:xfrm>
          <a:prstGeom prst="ellipse">
            <a:avLst/>
          </a:prstGeom>
          <a:solidFill>
            <a:srgbClr val="00B05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dk1"/>
                </a:solidFill>
              </a:rPr>
              <a:t>SANDBOX</a:t>
            </a:r>
          </a:p>
        </p:txBody>
      </p:sp>
      <p:sp>
        <p:nvSpPr>
          <p:cNvPr id="32" name="Rectangle 31"/>
          <p:cNvSpPr/>
          <p:nvPr/>
        </p:nvSpPr>
        <p:spPr>
          <a:xfrm>
            <a:off x="8009805" y="6094027"/>
            <a:ext cx="1195302" cy="452212"/>
          </a:xfrm>
          <a:prstGeom prst="rect">
            <a:avLst/>
          </a:prstGeom>
          <a:solidFill>
            <a:srgbClr val="6AC68F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DECISION</a:t>
            </a:r>
            <a:endParaRPr lang="en-US" sz="1400" dirty="0"/>
          </a:p>
        </p:txBody>
      </p:sp>
      <p:cxnSp>
        <p:nvCxnSpPr>
          <p:cNvPr id="33" name="Straight Arrow Connector 32"/>
          <p:cNvCxnSpPr>
            <a:stCxn id="27" idx="3"/>
            <a:endCxn id="28" idx="0"/>
          </p:cNvCxnSpPr>
          <p:nvPr/>
        </p:nvCxnSpPr>
        <p:spPr>
          <a:xfrm flipH="1">
            <a:off x="3864198" y="4792028"/>
            <a:ext cx="1846507" cy="46822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27" idx="4"/>
            <a:endCxn id="29" idx="0"/>
          </p:cNvCxnSpPr>
          <p:nvPr/>
        </p:nvCxnSpPr>
        <p:spPr>
          <a:xfrm flipH="1">
            <a:off x="6146092" y="4919596"/>
            <a:ext cx="130515" cy="34066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stCxn id="27" idx="5"/>
            <a:endCxn id="30" idx="0"/>
          </p:cNvCxnSpPr>
          <p:nvPr/>
        </p:nvCxnSpPr>
        <p:spPr>
          <a:xfrm>
            <a:off x="6842509" y="4792028"/>
            <a:ext cx="2362598" cy="46822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29" idx="2"/>
            <a:endCxn id="31" idx="2"/>
          </p:cNvCxnSpPr>
          <p:nvPr/>
        </p:nvCxnSpPr>
        <p:spPr>
          <a:xfrm flipH="1">
            <a:off x="6117114" y="5727718"/>
            <a:ext cx="28978" cy="59241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31" idx="6"/>
            <a:endCxn id="32" idx="1"/>
          </p:cNvCxnSpPr>
          <p:nvPr/>
        </p:nvCxnSpPr>
        <p:spPr>
          <a:xfrm flipV="1">
            <a:off x="7595485" y="6320133"/>
            <a:ext cx="41432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Elbow Connector 125"/>
          <p:cNvCxnSpPr/>
          <p:nvPr/>
        </p:nvCxnSpPr>
        <p:spPr>
          <a:xfrm rot="16200000" flipH="1">
            <a:off x="4826329" y="3889295"/>
            <a:ext cx="853201" cy="427185"/>
          </a:xfrm>
          <a:prstGeom prst="bentConnector3">
            <a:avLst>
              <a:gd name="adj1" fmla="val 100994"/>
            </a:avLst>
          </a:prstGeom>
          <a:ln>
            <a:tailEnd type="triangle" w="lg" len="lg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" name="Oval 1"/>
          <p:cNvSpPr/>
          <p:nvPr/>
        </p:nvSpPr>
        <p:spPr>
          <a:xfrm>
            <a:off x="5105883" y="3917275"/>
            <a:ext cx="2341448" cy="1188978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106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6" grpId="0" animBg="1"/>
      <p:bldP spid="21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2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61257"/>
            <a:ext cx="10515600" cy="1325563"/>
          </a:xfrm>
        </p:spPr>
        <p:txBody>
          <a:bodyPr/>
          <a:lstStyle/>
          <a:p>
            <a:pPr algn="ctr"/>
            <a:r>
              <a:rPr lang="en-US" b="1" dirty="0" smtClean="0"/>
              <a:t>Threshold vs Time</a:t>
            </a:r>
            <a:endParaRPr lang="en-US" b="1" dirty="0"/>
          </a:p>
        </p:txBody>
      </p:sp>
      <p:graphicFrame>
        <p:nvGraphicFramePr>
          <p:cNvPr id="44" name="Content Placeholder 4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30255630"/>
              </p:ext>
            </p:extLst>
          </p:nvPr>
        </p:nvGraphicFramePr>
        <p:xfrm>
          <a:off x="838200" y="1825624"/>
          <a:ext cx="10515600" cy="4397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137867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1170038" y="629265"/>
            <a:ext cx="9787872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 smtClean="0"/>
              <a:t>Our Research Outcome and Future Work </a:t>
            </a:r>
            <a:endParaRPr lang="en-US" sz="4400" b="1" dirty="0"/>
          </a:p>
        </p:txBody>
      </p:sp>
      <p:sp>
        <p:nvSpPr>
          <p:cNvPr id="3" name="TextBox 2"/>
          <p:cNvSpPr txBox="1"/>
          <p:nvPr/>
        </p:nvSpPr>
        <p:spPr>
          <a:xfrm>
            <a:off x="209005" y="1851536"/>
            <a:ext cx="11982995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smtClean="0"/>
              <a:t>In our comparative study we found weight constraint has less effect and it’s time complexity is high.</a:t>
            </a:r>
            <a:endParaRPr lang="en-US" sz="2000" dirty="0" smtClean="0"/>
          </a:p>
          <a:p>
            <a:endParaRPr lang="en-US" sz="2000" dirty="0"/>
          </a:p>
          <a:p>
            <a:endParaRPr lang="en-US" sz="2000" dirty="0" smtClean="0"/>
          </a:p>
          <a:p>
            <a:pPr lvl="1"/>
            <a:r>
              <a:rPr lang="en-US" sz="2000" dirty="0" smtClean="0"/>
              <a:t>•      A </a:t>
            </a:r>
            <a:r>
              <a:rPr lang="en-US" sz="2000" dirty="0"/>
              <a:t>Multithreaded system could be introduced in the algorithms for faster </a:t>
            </a:r>
            <a:endParaRPr lang="en-US" sz="2000" dirty="0" smtClean="0"/>
          </a:p>
          <a:p>
            <a:pPr lvl="1"/>
            <a:r>
              <a:rPr lang="en-US" sz="2000" dirty="0" smtClean="0"/>
              <a:t>        extraction </a:t>
            </a:r>
            <a:r>
              <a:rPr lang="en-US" sz="2000" dirty="0"/>
              <a:t>of feature using more of the idle </a:t>
            </a:r>
            <a:r>
              <a:rPr lang="en-US" sz="2000" dirty="0" smtClean="0"/>
              <a:t>CPU.</a:t>
            </a:r>
          </a:p>
          <a:p>
            <a:pPr lvl="1"/>
            <a:endParaRPr lang="en-US" sz="2000" dirty="0" smtClean="0"/>
          </a:p>
          <a:p>
            <a:pPr lvl="1"/>
            <a:r>
              <a:rPr lang="en-US" sz="2000" dirty="0" smtClean="0"/>
              <a:t>•      The study could be done in a distributed system like HADOOP or any other </a:t>
            </a:r>
          </a:p>
          <a:p>
            <a:pPr lvl="1"/>
            <a:r>
              <a:rPr lang="en-US" sz="2000" dirty="0" smtClean="0"/>
              <a:t>        distributed </a:t>
            </a:r>
            <a:r>
              <a:rPr lang="en-US" sz="2000" dirty="0"/>
              <a:t>model for better and faster result</a:t>
            </a:r>
            <a:r>
              <a:rPr lang="en-US" sz="2000" dirty="0" smtClean="0"/>
              <a:t>.</a:t>
            </a:r>
          </a:p>
          <a:p>
            <a:pPr lvl="1"/>
            <a:endParaRPr lang="en-US" sz="2000" dirty="0"/>
          </a:p>
          <a:p>
            <a:pPr lvl="1"/>
            <a:r>
              <a:rPr lang="en-US" sz="2000" dirty="0" smtClean="0"/>
              <a:t>•	We could utilize the weighted support calculated from </a:t>
            </a:r>
            <a:r>
              <a:rPr lang="en-US" sz="2000" dirty="0" err="1" smtClean="0"/>
              <a:t>MaxPWS</a:t>
            </a:r>
            <a:r>
              <a:rPr lang="en-US" sz="2000" dirty="0" smtClean="0"/>
              <a:t> rather than just considering it’s presence </a:t>
            </a:r>
          </a:p>
          <a:p>
            <a:pPr lvl="1"/>
            <a:r>
              <a:rPr lang="en-US" sz="2000" dirty="0"/>
              <a:t>	</a:t>
            </a:r>
            <a:r>
              <a:rPr lang="en-US" sz="2000" dirty="0" smtClean="0"/>
              <a:t>or absence.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770108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2801377" y="2387113"/>
            <a:ext cx="6798250" cy="1674470"/>
          </a:xfrm>
        </p:spPr>
        <p:txBody>
          <a:bodyPr/>
          <a:lstStyle/>
          <a:p>
            <a:r>
              <a:rPr lang="en-US" dirty="0" smtClean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971017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2801377" y="2387113"/>
            <a:ext cx="6798250" cy="1674470"/>
          </a:xfrm>
        </p:spPr>
        <p:txBody>
          <a:bodyPr/>
          <a:lstStyle/>
          <a:p>
            <a:r>
              <a:rPr lang="en-US" dirty="0" smtClean="0"/>
              <a:t>Any Question 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666083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1258528" y="543213"/>
            <a:ext cx="9144000" cy="805291"/>
          </a:xfrm>
        </p:spPr>
        <p:txBody>
          <a:bodyPr>
            <a:noAutofit/>
          </a:bodyPr>
          <a:lstStyle/>
          <a:p>
            <a:r>
              <a:rPr lang="en-US" sz="4400" spc="0" dirty="0" smtClean="0"/>
              <a:t>Call Graph</a:t>
            </a:r>
            <a:endParaRPr lang="en-US" sz="4400" spc="0" dirty="0">
              <a:hlinkClick r:id="rId2" action="ppaction://hlinksldjump"/>
            </a:endParaRPr>
          </a:p>
        </p:txBody>
      </p:sp>
      <p:sp>
        <p:nvSpPr>
          <p:cNvPr id="8" name="Subtitle 7"/>
          <p:cNvSpPr txBox="1">
            <a:spLocks/>
          </p:cNvSpPr>
          <p:nvPr/>
        </p:nvSpPr>
        <p:spPr>
          <a:xfrm>
            <a:off x="948281" y="2101695"/>
            <a:ext cx="7743568" cy="4658496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dirty="0" smtClean="0"/>
              <a:t>A </a:t>
            </a:r>
            <a:r>
              <a:rPr lang="en-US" b="1" dirty="0" smtClean="0"/>
              <a:t>call graph</a:t>
            </a:r>
            <a:r>
              <a:rPr lang="en-US" dirty="0" smtClean="0"/>
              <a:t> is an abstract object produced by program analysis tools to represent the relationships between subroutines in a computer program. Where,</a:t>
            </a:r>
          </a:p>
          <a:p>
            <a:r>
              <a:rPr lang="en-US" dirty="0" smtClean="0"/>
              <a:t>	Node =&gt; Functions</a:t>
            </a:r>
          </a:p>
          <a:p>
            <a:r>
              <a:rPr lang="en-US" dirty="0" smtClean="0"/>
              <a:t>	Edge =&gt; A call from a function to another</a:t>
            </a:r>
          </a:p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691849" y="1751150"/>
            <a:ext cx="3892205" cy="3928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9310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524000" y="2645737"/>
            <a:ext cx="9144000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2800" dirty="0" smtClean="0"/>
              <a:t> Metamorphic </a:t>
            </a:r>
            <a:r>
              <a:rPr lang="en-US" sz="2800" dirty="0"/>
              <a:t>malware</a:t>
            </a:r>
          </a:p>
          <a:p>
            <a:endParaRPr lang="en-US" b="1" dirty="0">
              <a:solidFill>
                <a:srgbClr val="545454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2800" dirty="0" smtClean="0"/>
              <a:t> </a:t>
            </a:r>
            <a:r>
              <a:rPr lang="en-US" sz="2800" dirty="0" err="1" smtClean="0"/>
              <a:t>BinJuice</a:t>
            </a:r>
            <a:r>
              <a:rPr lang="en-US" sz="2800" dirty="0"/>
              <a:t> is a tool for extracting the semantic juice of a binary. It symbolically interprets individual blocks of a binary to extract their semantics</a:t>
            </a:r>
          </a:p>
        </p:txBody>
      </p:sp>
      <p:sp>
        <p:nvSpPr>
          <p:cNvPr id="8" name="Title 6"/>
          <p:cNvSpPr>
            <a:spLocks noGrp="1"/>
          </p:cNvSpPr>
          <p:nvPr>
            <p:ph type="ctrTitle"/>
          </p:nvPr>
        </p:nvSpPr>
        <p:spPr>
          <a:xfrm>
            <a:off x="1524000" y="827395"/>
            <a:ext cx="9144000" cy="805291"/>
          </a:xfrm>
        </p:spPr>
        <p:txBody>
          <a:bodyPr>
            <a:noAutofit/>
          </a:bodyPr>
          <a:lstStyle/>
          <a:p>
            <a:r>
              <a:rPr lang="en-US" sz="4400" spc="0" dirty="0" smtClean="0"/>
              <a:t>Binjuice</a:t>
            </a:r>
            <a:endParaRPr lang="en-US" sz="4400" spc="0" dirty="0">
              <a:hlinkClick r:id="rId2" action="ppaction://hlinksldjump"/>
            </a:endParaRPr>
          </a:p>
        </p:txBody>
      </p:sp>
    </p:spTree>
    <p:extLst>
      <p:ext uri="{BB962C8B-B14F-4D97-AF65-F5344CB8AC3E}">
        <p14:creationId xmlns:p14="http://schemas.microsoft.com/office/powerpoint/2010/main" val="862363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6"/>
          <p:cNvSpPr>
            <a:spLocks noGrp="1"/>
          </p:cNvSpPr>
          <p:nvPr>
            <p:ph type="ctrTitle"/>
          </p:nvPr>
        </p:nvSpPr>
        <p:spPr>
          <a:xfrm>
            <a:off x="1447800" y="395596"/>
            <a:ext cx="9144000" cy="805291"/>
          </a:xfrm>
        </p:spPr>
        <p:txBody>
          <a:bodyPr>
            <a:noAutofit/>
          </a:bodyPr>
          <a:lstStyle/>
          <a:p>
            <a:r>
              <a:rPr lang="en-US" sz="4400" cap="none" spc="0" dirty="0" err="1">
                <a:solidFill>
                  <a:prstClr val="black"/>
                </a:solidFill>
              </a:rPr>
              <a:t>gSpan</a:t>
            </a:r>
            <a:r>
              <a:rPr lang="en-US" sz="4400" cap="none" spc="0" dirty="0">
                <a:solidFill>
                  <a:prstClr val="black"/>
                </a:solidFill>
              </a:rPr>
              <a:t> Algorithm</a:t>
            </a:r>
            <a:endParaRPr lang="en-US" sz="4400" spc="0" dirty="0">
              <a:hlinkClick r:id="rId2" action="ppaction://hlinksldjump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76365" y="1916830"/>
            <a:ext cx="6627812" cy="4253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73660" lvl="0" indent="-342900" algn="just" defTabSz="914400" rtl="0" eaLnBrk="1" fontAlgn="auto" latinLnBrk="0" hangingPunct="1">
              <a:lnSpc>
                <a:spcPct val="16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Vrinda"/>
              </a:rPr>
              <a:t>Produce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Vrinda"/>
              </a:rPr>
              <a:t>a Depth-first Search (DFS) code for each edge in graphs. </a:t>
            </a:r>
          </a:p>
          <a:p>
            <a:pPr marL="342900" marR="73660" lvl="0" indent="-342900" algn="just" defTabSz="914400" rtl="0" eaLnBrk="1" fontAlgn="auto" latinLnBrk="0" hangingPunct="1">
              <a:lnSpc>
                <a:spcPct val="16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Vrinda"/>
              </a:rPr>
              <a:t>Edges are sorted according to lexicographic order of codes. </a:t>
            </a:r>
          </a:p>
          <a:p>
            <a:pPr marL="342900" marR="73660" lvl="0" indent="-342900" algn="just" defTabSz="914400" rtl="0" eaLnBrk="1" fontAlgn="auto" latinLnBrk="0" hangingPunct="1">
              <a:lnSpc>
                <a:spcPct val="16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Vrinda"/>
              </a:rPr>
              <a:t>Yan and Han (Authors of gSpan) proved that graph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Vrinda"/>
              </a:rPr>
              <a:t>isomorphism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Vrinda"/>
              </a:rPr>
              <a:t>can be tested for two graphs annotated with DFS codes. </a:t>
            </a:r>
          </a:p>
          <a:p>
            <a:pPr marL="342900" marR="73660" lvl="0" indent="-342900" algn="just" defTabSz="914400" rtl="0" eaLnBrk="1" fontAlgn="auto" latinLnBrk="0" hangingPunct="1">
              <a:lnSpc>
                <a:spcPct val="16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Vrinda"/>
              </a:rPr>
              <a:t> Starting with small graph patterns containing 1-edge, patterns are expanded systemically by the DFS search. </a:t>
            </a:r>
          </a:p>
          <a:p>
            <a:pPr marL="342900" marR="73660" lvl="0" indent="-342900" algn="just" defTabSz="914400" rtl="0" eaLnBrk="1" fontAlgn="auto" latinLnBrk="0" hangingPunct="1">
              <a:lnSpc>
                <a:spcPct val="16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Vrinda"/>
              </a:rPr>
              <a:t>Employ anti-monotonic property of graph frequency </a:t>
            </a:r>
          </a:p>
        </p:txBody>
      </p:sp>
      <p:pic>
        <p:nvPicPr>
          <p:cNvPr id="5" name="Picture 4"/>
          <p:cNvPicPr/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D9C3A5">
                <a:tint val="50000"/>
                <a:satMod val="180000"/>
              </a:srgbClr>
            </a:duotone>
          </a:blip>
          <a:stretch>
            <a:fillRect/>
          </a:stretch>
        </p:blipFill>
        <p:spPr>
          <a:xfrm>
            <a:off x="7412588" y="2138429"/>
            <a:ext cx="4665438" cy="3810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980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07177" y="246277"/>
            <a:ext cx="6893170" cy="1325563"/>
          </a:xfrm>
        </p:spPr>
        <p:txBody>
          <a:bodyPr/>
          <a:lstStyle/>
          <a:p>
            <a:pPr algn="l"/>
            <a:r>
              <a:rPr lang="en-US" b="1" dirty="0" smtClean="0"/>
              <a:t>Canonical DFS Code Condition</a:t>
            </a:r>
            <a:endParaRPr lang="en-US" b="1" spc="0" dirty="0"/>
          </a:p>
        </p:txBody>
      </p:sp>
      <p:sp>
        <p:nvSpPr>
          <p:cNvPr id="10" name="TextBox 9"/>
          <p:cNvSpPr txBox="1"/>
          <p:nvPr/>
        </p:nvSpPr>
        <p:spPr>
          <a:xfrm>
            <a:off x="541195" y="1677347"/>
            <a:ext cx="11425135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imesTen-Roman"/>
              </a:rPr>
              <a:t>Condition (1) If </a:t>
            </a:r>
            <a:r>
              <a:rPr lang="en-US" dirty="0" err="1">
                <a:latin typeface="MTMI"/>
              </a:rPr>
              <a:t>eij</a:t>
            </a:r>
            <a:r>
              <a:rPr lang="en-US" dirty="0">
                <a:latin typeface="MTMI"/>
              </a:rPr>
              <a:t> </a:t>
            </a:r>
            <a:r>
              <a:rPr lang="en-US" dirty="0">
                <a:latin typeface="TimesTen-Roman"/>
              </a:rPr>
              <a:t>and </a:t>
            </a:r>
            <a:r>
              <a:rPr lang="en-US" dirty="0" err="1">
                <a:latin typeface="MTMI"/>
              </a:rPr>
              <a:t>exy</a:t>
            </a:r>
            <a:r>
              <a:rPr lang="en-US" dirty="0">
                <a:latin typeface="MTMI"/>
              </a:rPr>
              <a:t> </a:t>
            </a:r>
            <a:r>
              <a:rPr lang="en-US" dirty="0">
                <a:latin typeface="TimesTen-Roman"/>
              </a:rPr>
              <a:t>are both forward edges, then (a) </a:t>
            </a:r>
            <a:r>
              <a:rPr lang="en-US" dirty="0">
                <a:latin typeface="MTMI"/>
              </a:rPr>
              <a:t>j &lt; y</a:t>
            </a:r>
            <a:r>
              <a:rPr lang="en-US" dirty="0">
                <a:latin typeface="TimesTen-Roman"/>
              </a:rPr>
              <a:t>, or (b) </a:t>
            </a:r>
            <a:r>
              <a:rPr lang="en-US" dirty="0">
                <a:latin typeface="MTMI"/>
              </a:rPr>
              <a:t>j </a:t>
            </a:r>
            <a:r>
              <a:rPr lang="en-US" dirty="0">
                <a:latin typeface="MTSY"/>
              </a:rPr>
              <a:t>= </a:t>
            </a:r>
            <a:r>
              <a:rPr lang="en-US" dirty="0">
                <a:latin typeface="MTMI"/>
              </a:rPr>
              <a:t>y </a:t>
            </a:r>
            <a:r>
              <a:rPr lang="en-US" dirty="0" smtClean="0">
                <a:latin typeface="TimesTen-Roman"/>
              </a:rPr>
              <a:t>and </a:t>
            </a:r>
            <a:r>
              <a:rPr lang="en-US" dirty="0" err="1" smtClean="0">
                <a:latin typeface="MTMI"/>
              </a:rPr>
              <a:t>i</a:t>
            </a:r>
            <a:r>
              <a:rPr lang="en-US" dirty="0" smtClean="0">
                <a:latin typeface="MTMI"/>
              </a:rPr>
              <a:t> </a:t>
            </a:r>
            <a:r>
              <a:rPr lang="en-US" dirty="0">
                <a:latin typeface="MTMI"/>
              </a:rPr>
              <a:t>&gt; x</a:t>
            </a:r>
            <a:r>
              <a:rPr lang="en-US" dirty="0">
                <a:latin typeface="TimesTen-Roman"/>
              </a:rPr>
              <a:t>. That is, (a) a forward extension to a node earlier in the DFS </a:t>
            </a:r>
            <a:r>
              <a:rPr lang="en-US" dirty="0" smtClean="0">
                <a:latin typeface="TimesTen-Roman"/>
              </a:rPr>
              <a:t>node order </a:t>
            </a:r>
            <a:r>
              <a:rPr lang="en-US" dirty="0">
                <a:latin typeface="TimesTen-Roman"/>
              </a:rPr>
              <a:t>is smaller, or (b) if both the forward edges point to a node with </a:t>
            </a:r>
            <a:r>
              <a:rPr lang="en-US" dirty="0" smtClean="0">
                <a:latin typeface="TimesTen-Roman"/>
              </a:rPr>
              <a:t>the same </a:t>
            </a:r>
            <a:r>
              <a:rPr lang="en-US" dirty="0">
                <a:latin typeface="TimesTen-Roman"/>
              </a:rPr>
              <a:t>DFS node order, then the forward extension from a node </a:t>
            </a:r>
            <a:r>
              <a:rPr lang="en-US" dirty="0" smtClean="0">
                <a:latin typeface="TimesTen-Roman"/>
              </a:rPr>
              <a:t>deeper in </a:t>
            </a:r>
            <a:r>
              <a:rPr lang="en-US" dirty="0">
                <a:latin typeface="TimesTen-Roman"/>
              </a:rPr>
              <a:t>the tree is smaller</a:t>
            </a:r>
            <a:r>
              <a:rPr lang="en-US" dirty="0" smtClean="0">
                <a:latin typeface="TimesTen-Roman"/>
              </a:rPr>
              <a:t>.</a:t>
            </a:r>
          </a:p>
          <a:p>
            <a:endParaRPr lang="en-US" dirty="0">
              <a:latin typeface="TimesTen-Roman"/>
            </a:endParaRPr>
          </a:p>
          <a:p>
            <a:r>
              <a:rPr lang="en-US" dirty="0">
                <a:latin typeface="TimesTen-Roman"/>
              </a:rPr>
              <a:t>Condition (2) If </a:t>
            </a:r>
            <a:r>
              <a:rPr lang="en-US" dirty="0" err="1">
                <a:latin typeface="MTMI"/>
              </a:rPr>
              <a:t>eij</a:t>
            </a:r>
            <a:r>
              <a:rPr lang="en-US" dirty="0">
                <a:latin typeface="MTMI"/>
              </a:rPr>
              <a:t> </a:t>
            </a:r>
            <a:r>
              <a:rPr lang="en-US" dirty="0">
                <a:latin typeface="TimesTen-Roman"/>
              </a:rPr>
              <a:t>and </a:t>
            </a:r>
            <a:r>
              <a:rPr lang="en-US" dirty="0" err="1">
                <a:latin typeface="MTMI"/>
              </a:rPr>
              <a:t>exy</a:t>
            </a:r>
            <a:r>
              <a:rPr lang="en-US" dirty="0">
                <a:latin typeface="MTMI"/>
              </a:rPr>
              <a:t> </a:t>
            </a:r>
            <a:r>
              <a:rPr lang="en-US" dirty="0">
                <a:latin typeface="TimesTen-Roman"/>
              </a:rPr>
              <a:t>are both backward edges, then (a) </a:t>
            </a:r>
            <a:r>
              <a:rPr lang="en-US" dirty="0" err="1">
                <a:latin typeface="MTMI"/>
              </a:rPr>
              <a:t>i</a:t>
            </a:r>
            <a:r>
              <a:rPr lang="en-US" dirty="0">
                <a:latin typeface="MTMI"/>
              </a:rPr>
              <a:t> &lt; x</a:t>
            </a:r>
            <a:r>
              <a:rPr lang="en-US" dirty="0">
                <a:latin typeface="TimesTen-Roman"/>
              </a:rPr>
              <a:t>, or (b) </a:t>
            </a:r>
            <a:r>
              <a:rPr lang="en-US" dirty="0" err="1">
                <a:latin typeface="MTMI"/>
              </a:rPr>
              <a:t>i</a:t>
            </a:r>
            <a:r>
              <a:rPr lang="en-US" dirty="0">
                <a:latin typeface="MTMI"/>
              </a:rPr>
              <a:t> </a:t>
            </a:r>
            <a:r>
              <a:rPr lang="en-US" dirty="0">
                <a:latin typeface="MTSY"/>
              </a:rPr>
              <a:t>= </a:t>
            </a:r>
            <a:r>
              <a:rPr lang="en-US" dirty="0">
                <a:latin typeface="MTMI"/>
              </a:rPr>
              <a:t>x </a:t>
            </a:r>
            <a:r>
              <a:rPr lang="en-US" dirty="0" smtClean="0">
                <a:latin typeface="TimesTen-Roman"/>
              </a:rPr>
              <a:t>and </a:t>
            </a:r>
            <a:r>
              <a:rPr lang="en-US" dirty="0" smtClean="0">
                <a:latin typeface="MTMI"/>
              </a:rPr>
              <a:t>j </a:t>
            </a:r>
            <a:r>
              <a:rPr lang="en-US" dirty="0">
                <a:latin typeface="MTMI"/>
              </a:rPr>
              <a:t>&lt; y</a:t>
            </a:r>
            <a:r>
              <a:rPr lang="en-US" dirty="0">
                <a:latin typeface="TimesTen-Roman"/>
              </a:rPr>
              <a:t>. That is, (a) a backward edge from a node earlier in the </a:t>
            </a:r>
            <a:r>
              <a:rPr lang="en-US" dirty="0" smtClean="0">
                <a:latin typeface="TimesTen-Roman"/>
              </a:rPr>
              <a:t>DFS node </a:t>
            </a:r>
            <a:r>
              <a:rPr lang="en-US" dirty="0">
                <a:latin typeface="TimesTen-Roman"/>
              </a:rPr>
              <a:t>order is smaller, or (b) if both the backward edges originate from a</a:t>
            </a:r>
          </a:p>
          <a:p>
            <a:r>
              <a:rPr lang="en-US" dirty="0">
                <a:latin typeface="TimesTen-Roman"/>
              </a:rPr>
              <a:t>node with the same DFS node order, then the backward edge to a </a:t>
            </a:r>
            <a:r>
              <a:rPr lang="en-US" dirty="0" smtClean="0">
                <a:latin typeface="TimesTen-Roman"/>
              </a:rPr>
              <a:t>node earlier </a:t>
            </a:r>
            <a:r>
              <a:rPr lang="en-US" dirty="0">
                <a:latin typeface="TimesTen-Roman"/>
              </a:rPr>
              <a:t>in DFS node order (i.e., closer to the root along the </a:t>
            </a:r>
            <a:r>
              <a:rPr lang="en-US" dirty="0" smtClean="0">
                <a:latin typeface="TimesTen-Roman"/>
              </a:rPr>
              <a:t>rightmost path</a:t>
            </a:r>
            <a:r>
              <a:rPr lang="en-US" dirty="0">
                <a:latin typeface="TimesTen-Roman"/>
              </a:rPr>
              <a:t>) is smaller</a:t>
            </a:r>
            <a:r>
              <a:rPr lang="en-US" dirty="0" smtClean="0">
                <a:latin typeface="TimesTen-Roman"/>
              </a:rPr>
              <a:t>.</a:t>
            </a:r>
            <a:endParaRPr lang="en-US" dirty="0">
              <a:latin typeface="TimesTen-Roman"/>
            </a:endParaRPr>
          </a:p>
          <a:p>
            <a:endParaRPr lang="en-US" dirty="0">
              <a:latin typeface="TimesTen-Roman"/>
            </a:endParaRPr>
          </a:p>
          <a:p>
            <a:r>
              <a:rPr lang="en-US" dirty="0">
                <a:latin typeface="TimesTen-Roman"/>
              </a:rPr>
              <a:t>Condition (3) If </a:t>
            </a:r>
            <a:r>
              <a:rPr lang="en-US" dirty="0" err="1">
                <a:latin typeface="MTMI"/>
              </a:rPr>
              <a:t>eij</a:t>
            </a:r>
            <a:r>
              <a:rPr lang="en-US" dirty="0">
                <a:latin typeface="MTMI"/>
              </a:rPr>
              <a:t> </a:t>
            </a:r>
            <a:r>
              <a:rPr lang="en-US" dirty="0">
                <a:latin typeface="TimesTen-Roman"/>
              </a:rPr>
              <a:t>is a forward and </a:t>
            </a:r>
            <a:r>
              <a:rPr lang="en-US" dirty="0" err="1">
                <a:latin typeface="MTMI"/>
              </a:rPr>
              <a:t>exy</a:t>
            </a:r>
            <a:r>
              <a:rPr lang="en-US" dirty="0">
                <a:latin typeface="MTMI"/>
              </a:rPr>
              <a:t> </a:t>
            </a:r>
            <a:r>
              <a:rPr lang="en-US" dirty="0">
                <a:latin typeface="TimesTen-Roman"/>
              </a:rPr>
              <a:t>is a backward edge, then </a:t>
            </a:r>
            <a:r>
              <a:rPr lang="en-US" dirty="0">
                <a:latin typeface="MTMI"/>
              </a:rPr>
              <a:t>j </a:t>
            </a:r>
            <a:r>
              <a:rPr lang="en-US" dirty="0">
                <a:latin typeface="MTSY"/>
              </a:rPr>
              <a:t>≤ </a:t>
            </a:r>
            <a:r>
              <a:rPr lang="en-US" dirty="0">
                <a:latin typeface="MTMI"/>
              </a:rPr>
              <a:t>x</a:t>
            </a:r>
            <a:r>
              <a:rPr lang="en-US" dirty="0">
                <a:latin typeface="TimesTen-Roman"/>
              </a:rPr>
              <a:t>. That is, </a:t>
            </a:r>
            <a:r>
              <a:rPr lang="en-US" dirty="0" smtClean="0">
                <a:latin typeface="TimesTen-Roman"/>
              </a:rPr>
              <a:t>a forward </a:t>
            </a:r>
            <a:r>
              <a:rPr lang="en-US" dirty="0">
                <a:latin typeface="TimesTen-Roman"/>
              </a:rPr>
              <a:t>edge to a node earlier in the DFS node order is smaller than </a:t>
            </a:r>
            <a:r>
              <a:rPr lang="en-US" dirty="0" smtClean="0">
                <a:latin typeface="TimesTen-Roman"/>
              </a:rPr>
              <a:t>a backward </a:t>
            </a:r>
            <a:r>
              <a:rPr lang="en-US" dirty="0">
                <a:latin typeface="TimesTen-Roman"/>
              </a:rPr>
              <a:t>edge from that node or any node that comes after it in DFS</a:t>
            </a:r>
          </a:p>
          <a:p>
            <a:r>
              <a:rPr lang="en-US" dirty="0">
                <a:latin typeface="TimesTen-Roman"/>
              </a:rPr>
              <a:t>node order</a:t>
            </a:r>
            <a:r>
              <a:rPr lang="en-US" dirty="0" smtClean="0">
                <a:latin typeface="TimesTen-Roman"/>
              </a:rPr>
              <a:t>.</a:t>
            </a:r>
          </a:p>
          <a:p>
            <a:endParaRPr lang="en-US" dirty="0">
              <a:latin typeface="TimesTen-Roman"/>
            </a:endParaRPr>
          </a:p>
          <a:p>
            <a:r>
              <a:rPr lang="en-US" dirty="0">
                <a:latin typeface="TimesTen-Roman"/>
              </a:rPr>
              <a:t>Condition (4) If </a:t>
            </a:r>
            <a:r>
              <a:rPr lang="en-US" dirty="0" err="1">
                <a:latin typeface="MTMI"/>
              </a:rPr>
              <a:t>eij</a:t>
            </a:r>
            <a:r>
              <a:rPr lang="en-US" dirty="0">
                <a:latin typeface="MTMI"/>
              </a:rPr>
              <a:t> </a:t>
            </a:r>
            <a:r>
              <a:rPr lang="en-US" dirty="0">
                <a:latin typeface="TimesTen-Roman"/>
              </a:rPr>
              <a:t>is a backward and </a:t>
            </a:r>
            <a:r>
              <a:rPr lang="en-US" dirty="0" err="1">
                <a:latin typeface="MTMI"/>
              </a:rPr>
              <a:t>exy</a:t>
            </a:r>
            <a:r>
              <a:rPr lang="en-US" dirty="0">
                <a:latin typeface="MTMI"/>
              </a:rPr>
              <a:t> </a:t>
            </a:r>
            <a:r>
              <a:rPr lang="en-US" dirty="0">
                <a:latin typeface="TimesTen-Roman"/>
              </a:rPr>
              <a:t>is a forward edge, then </a:t>
            </a:r>
            <a:r>
              <a:rPr lang="en-US" dirty="0" err="1">
                <a:latin typeface="MTMI"/>
              </a:rPr>
              <a:t>i</a:t>
            </a:r>
            <a:r>
              <a:rPr lang="en-US" dirty="0">
                <a:latin typeface="MTMI"/>
              </a:rPr>
              <a:t> &lt; y</a:t>
            </a:r>
            <a:r>
              <a:rPr lang="en-US" dirty="0">
                <a:latin typeface="TimesTen-Roman"/>
              </a:rPr>
              <a:t>. That is, </a:t>
            </a:r>
            <a:r>
              <a:rPr lang="en-US" dirty="0" smtClean="0">
                <a:latin typeface="TimesTen-Roman"/>
              </a:rPr>
              <a:t>a backward </a:t>
            </a:r>
            <a:r>
              <a:rPr lang="en-US" dirty="0">
                <a:latin typeface="TimesTen-Roman"/>
              </a:rPr>
              <a:t>edge from a node earlier in DFS node order is smaller than </a:t>
            </a:r>
            <a:r>
              <a:rPr lang="en-US" dirty="0" smtClean="0">
                <a:latin typeface="TimesTen-Roman"/>
              </a:rPr>
              <a:t>a forward </a:t>
            </a:r>
            <a:r>
              <a:rPr lang="en-US" dirty="0">
                <a:latin typeface="TimesTen-Roman"/>
              </a:rPr>
              <a:t>edge to any later node.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Vrinda"/>
            </a:endParaRPr>
          </a:p>
        </p:txBody>
      </p:sp>
    </p:spTree>
    <p:extLst>
      <p:ext uri="{BB962C8B-B14F-4D97-AF65-F5344CB8AC3E}">
        <p14:creationId xmlns:p14="http://schemas.microsoft.com/office/powerpoint/2010/main" val="684414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07177" y="246277"/>
            <a:ext cx="6893170" cy="1325563"/>
          </a:xfrm>
        </p:spPr>
        <p:txBody>
          <a:bodyPr/>
          <a:lstStyle/>
          <a:p>
            <a:r>
              <a:rPr lang="en-US" b="1" dirty="0">
                <a:solidFill>
                  <a:prstClr val="black"/>
                </a:solidFill>
              </a:rPr>
              <a:t>WFSM-</a:t>
            </a:r>
            <a:r>
              <a:rPr lang="en-US" b="1" dirty="0" err="1">
                <a:solidFill>
                  <a:prstClr val="black"/>
                </a:solidFill>
              </a:rPr>
              <a:t>MaxPWS</a:t>
            </a:r>
            <a:r>
              <a:rPr lang="en-US" b="1" dirty="0">
                <a:solidFill>
                  <a:prstClr val="black"/>
                </a:solidFill>
              </a:rPr>
              <a:t> Algorithm </a:t>
            </a:r>
            <a:endParaRPr lang="en-US" b="1" spc="0" dirty="0"/>
          </a:p>
        </p:txBody>
      </p:sp>
      <p:sp>
        <p:nvSpPr>
          <p:cNvPr id="4" name="TextBox 3"/>
          <p:cNvSpPr txBox="1"/>
          <p:nvPr/>
        </p:nvSpPr>
        <p:spPr>
          <a:xfrm>
            <a:off x="389552" y="1582533"/>
            <a:ext cx="6627812" cy="50831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73660" lvl="0" indent="-342900" algn="just" defTabSz="914400" rtl="0" eaLnBrk="1" fontAlgn="auto" latinLnBrk="0" hangingPunct="1">
              <a:lnSpc>
                <a:spcPct val="16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Vrinda"/>
              </a:rPr>
              <a:t>Produces a Depth-first Search (DFS) code for each edge in graphs. </a:t>
            </a:r>
          </a:p>
          <a:p>
            <a:pPr marL="342900" marR="73660" lvl="0" indent="-342900" algn="just" defTabSz="914400" rtl="0" eaLnBrk="1" fontAlgn="auto" latinLnBrk="0" hangingPunct="1">
              <a:lnSpc>
                <a:spcPct val="16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Vrinda"/>
              </a:rPr>
              <a:t>To give a rank of a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Vrinda"/>
              </a:rPr>
              <a:t>DFScod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Vrinda"/>
              </a:rPr>
              <a:t> of subgraph, the WFSM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Vrinda"/>
              </a:rPr>
              <a:t>MaxPW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Vrinda"/>
              </a:rPr>
              <a:t> canonical order gives the highest priority to (dis u, dis v) as in gSpan.</a:t>
            </a:r>
          </a:p>
          <a:p>
            <a:pPr marL="342900" marR="73660" lvl="0" indent="-342900" algn="just" defTabSz="914400" rtl="0" eaLnBrk="1" fontAlgn="auto" latinLnBrk="0" hangingPunct="1">
              <a:lnSpc>
                <a:spcPct val="16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Vrinda"/>
              </a:rPr>
              <a:t>The second highest priority is given to edge weight W(u, v) and then comes the lexicographic comparison.</a:t>
            </a:r>
          </a:p>
          <a:p>
            <a:pPr marL="342900" marR="73660" lvl="0" indent="-342900" algn="just" defTabSz="914400" rtl="0" eaLnBrk="1" fontAlgn="auto" latinLnBrk="0" hangingPunct="1">
              <a:lnSpc>
                <a:spcPct val="16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Vrinda"/>
              </a:rPr>
              <a:t> Starting with small graph patterns containing 1-edge, patterns are expanded systemically by the DFS search. </a:t>
            </a:r>
          </a:p>
          <a:p>
            <a:pPr marL="342900" marR="73660" lvl="0" indent="-342900" algn="just" defTabSz="914400" rtl="0" eaLnBrk="1" fontAlgn="auto" latinLnBrk="0" hangingPunct="1">
              <a:lnSpc>
                <a:spcPct val="16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Vrinda"/>
              </a:rPr>
              <a:t>MaxPW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Vrinda"/>
              </a:rPr>
              <a:t>-measure is anti-monotonic.</a:t>
            </a:r>
          </a:p>
        </p:txBody>
      </p:sp>
      <p:pic>
        <p:nvPicPr>
          <p:cNvPr id="5" name="Picture 4"/>
          <p:cNvPicPr/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D9C3A5">
                <a:tint val="50000"/>
                <a:satMod val="180000"/>
              </a:srgbClr>
            </a:duotone>
          </a:blip>
          <a:stretch>
            <a:fillRect/>
          </a:stretch>
        </p:blipFill>
        <p:spPr>
          <a:xfrm>
            <a:off x="7017364" y="2324869"/>
            <a:ext cx="5287962" cy="3338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709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1581391" y="196209"/>
            <a:ext cx="8950840" cy="826713"/>
          </a:xfrm>
        </p:spPr>
        <p:txBody>
          <a:bodyPr>
            <a:noAutofit/>
          </a:bodyPr>
          <a:lstStyle/>
          <a:p>
            <a:r>
              <a:rPr lang="en-US" sz="4400" cap="none" spc="0" dirty="0">
                <a:solidFill>
                  <a:srgbClr val="94B6D2"/>
                </a:solidFill>
                <a:latin typeface="Calibri"/>
              </a:rPr>
              <a:t> </a:t>
            </a:r>
            <a:r>
              <a:rPr lang="en-US" sz="4400" cap="none" spc="0" dirty="0" smtClean="0">
                <a:solidFill>
                  <a:prstClr val="black"/>
                </a:solidFill>
                <a:latin typeface="Calibri"/>
              </a:rPr>
              <a:t>Antivirus Work Flow</a:t>
            </a:r>
            <a:endParaRPr lang="en-US" sz="5400" cap="none" dirty="0">
              <a:latin typeface="Calibri (Headings)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5107360" y="5807338"/>
            <a:ext cx="1600612" cy="871090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CLASSIFIER</a:t>
            </a:r>
          </a:p>
        </p:txBody>
      </p:sp>
      <p:sp>
        <p:nvSpPr>
          <p:cNvPr id="23" name="Rectangle 22"/>
          <p:cNvSpPr/>
          <p:nvPr/>
        </p:nvSpPr>
        <p:spPr>
          <a:xfrm>
            <a:off x="4316187" y="2390876"/>
            <a:ext cx="3167373" cy="525074"/>
          </a:xfrm>
          <a:prstGeom prst="rect">
            <a:avLst/>
          </a:prstGeom>
          <a:solidFill>
            <a:srgbClr val="008B8B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Identify discriminative feature</a:t>
            </a:r>
            <a:endParaRPr lang="en-US" sz="1600" b="1" dirty="0"/>
          </a:p>
        </p:txBody>
      </p:sp>
      <p:sp>
        <p:nvSpPr>
          <p:cNvPr id="26" name="Rectangle 25"/>
          <p:cNvSpPr/>
          <p:nvPr/>
        </p:nvSpPr>
        <p:spPr>
          <a:xfrm>
            <a:off x="8180158" y="3718933"/>
            <a:ext cx="2344019" cy="525074"/>
          </a:xfrm>
          <a:prstGeom prst="rect">
            <a:avLst/>
          </a:prstGeom>
          <a:solidFill>
            <a:srgbClr val="008B8B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dirty="0" err="1" smtClean="0"/>
              <a:t>MaxPWS</a:t>
            </a:r>
            <a:endParaRPr lang="en-US" sz="1600" b="1" dirty="0"/>
          </a:p>
        </p:txBody>
      </p:sp>
      <p:sp>
        <p:nvSpPr>
          <p:cNvPr id="38" name="Rectangle 37"/>
          <p:cNvSpPr/>
          <p:nvPr/>
        </p:nvSpPr>
        <p:spPr>
          <a:xfrm>
            <a:off x="1581391" y="3718933"/>
            <a:ext cx="2344019" cy="525074"/>
          </a:xfrm>
          <a:prstGeom prst="rect">
            <a:avLst/>
          </a:prstGeom>
          <a:solidFill>
            <a:srgbClr val="008B8B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dirty="0" err="1" smtClean="0"/>
              <a:t>gSpan</a:t>
            </a:r>
            <a:endParaRPr lang="en-US" sz="1600" b="1" dirty="0"/>
          </a:p>
        </p:txBody>
      </p:sp>
      <p:sp>
        <p:nvSpPr>
          <p:cNvPr id="41" name="Rectangle 40"/>
          <p:cNvSpPr/>
          <p:nvPr/>
        </p:nvSpPr>
        <p:spPr>
          <a:xfrm>
            <a:off x="4735657" y="3981470"/>
            <a:ext cx="2344019" cy="760348"/>
          </a:xfrm>
          <a:prstGeom prst="rect">
            <a:avLst/>
          </a:prstGeom>
          <a:solidFill>
            <a:srgbClr val="008B8B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Preprocess and prepare training / testing set</a:t>
            </a:r>
            <a:endParaRPr lang="en-US" sz="1600" b="1" dirty="0"/>
          </a:p>
        </p:txBody>
      </p:sp>
      <p:sp>
        <p:nvSpPr>
          <p:cNvPr id="16" name="Oval 15"/>
          <p:cNvSpPr/>
          <p:nvPr/>
        </p:nvSpPr>
        <p:spPr>
          <a:xfrm>
            <a:off x="5057482" y="929631"/>
            <a:ext cx="1700370" cy="936171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/>
              <a:t>Raw Dataset</a:t>
            </a:r>
            <a:endParaRPr lang="en-US" sz="1400" b="1" dirty="0"/>
          </a:p>
        </p:txBody>
      </p:sp>
      <p:cxnSp>
        <p:nvCxnSpPr>
          <p:cNvPr id="9" name="Straight Arrow Connector 8"/>
          <p:cNvCxnSpPr>
            <a:stCxn id="16" idx="4"/>
            <a:endCxn id="23" idx="0"/>
          </p:cNvCxnSpPr>
          <p:nvPr/>
        </p:nvCxnSpPr>
        <p:spPr>
          <a:xfrm flipH="1">
            <a:off x="5899874" y="1865802"/>
            <a:ext cx="7793" cy="525074"/>
          </a:xfrm>
          <a:prstGeom prst="straightConnector1">
            <a:avLst/>
          </a:prstGeom>
          <a:ln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38" idx="0"/>
            <a:endCxn id="23" idx="1"/>
          </p:cNvCxnSpPr>
          <p:nvPr/>
        </p:nvCxnSpPr>
        <p:spPr>
          <a:xfrm rot="5400000" flipH="1" flipV="1">
            <a:off x="3002034" y="2404780"/>
            <a:ext cx="1065520" cy="1562786"/>
          </a:xfrm>
          <a:prstGeom prst="bentConnector2">
            <a:avLst/>
          </a:prstGeom>
          <a:ln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Elbow Connector 21"/>
          <p:cNvCxnSpPr>
            <a:stCxn id="26" idx="0"/>
            <a:endCxn id="23" idx="3"/>
          </p:cNvCxnSpPr>
          <p:nvPr/>
        </p:nvCxnSpPr>
        <p:spPr>
          <a:xfrm rot="16200000" flipV="1">
            <a:off x="7885104" y="2251869"/>
            <a:ext cx="1065520" cy="1868608"/>
          </a:xfrm>
          <a:prstGeom prst="bentConnector2">
            <a:avLst/>
          </a:prstGeom>
          <a:ln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>
            <a:stCxn id="23" idx="2"/>
            <a:endCxn id="41" idx="0"/>
          </p:cNvCxnSpPr>
          <p:nvPr/>
        </p:nvCxnSpPr>
        <p:spPr>
          <a:xfrm>
            <a:off x="5899874" y="2915950"/>
            <a:ext cx="7793" cy="1065520"/>
          </a:xfrm>
          <a:prstGeom prst="straightConnector1">
            <a:avLst/>
          </a:prstGeom>
          <a:ln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Elbow Connector 66"/>
          <p:cNvCxnSpPr>
            <a:stCxn id="41" idx="1"/>
            <a:endCxn id="27" idx="2"/>
          </p:cNvCxnSpPr>
          <p:nvPr/>
        </p:nvCxnSpPr>
        <p:spPr>
          <a:xfrm rot="10800000" flipH="1" flipV="1">
            <a:off x="4735656" y="4361643"/>
            <a:ext cx="371703" cy="1881239"/>
          </a:xfrm>
          <a:prstGeom prst="bentConnector3">
            <a:avLst>
              <a:gd name="adj1" fmla="val -61501"/>
            </a:avLst>
          </a:prstGeom>
          <a:ln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Elbow Connector 68"/>
          <p:cNvCxnSpPr>
            <a:stCxn id="41" idx="3"/>
            <a:endCxn id="27" idx="6"/>
          </p:cNvCxnSpPr>
          <p:nvPr/>
        </p:nvCxnSpPr>
        <p:spPr>
          <a:xfrm flipH="1">
            <a:off x="6707972" y="4361644"/>
            <a:ext cx="371704" cy="1881239"/>
          </a:xfrm>
          <a:prstGeom prst="bentConnector3">
            <a:avLst>
              <a:gd name="adj1" fmla="val -68530"/>
            </a:avLst>
          </a:prstGeom>
          <a:ln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/>
          <p:cNvSpPr txBox="1"/>
          <p:nvPr/>
        </p:nvSpPr>
        <p:spPr>
          <a:xfrm>
            <a:off x="7483560" y="5146766"/>
            <a:ext cx="14122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rain</a:t>
            </a:r>
            <a:endParaRPr lang="en-US" dirty="0"/>
          </a:p>
        </p:txBody>
      </p:sp>
      <p:sp>
        <p:nvSpPr>
          <p:cNvPr id="75" name="TextBox 74"/>
          <p:cNvSpPr txBox="1"/>
          <p:nvPr/>
        </p:nvSpPr>
        <p:spPr>
          <a:xfrm>
            <a:off x="3727291" y="5112507"/>
            <a:ext cx="10083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es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350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1367913" y="204311"/>
            <a:ext cx="9144000" cy="884237"/>
          </a:xfrm>
        </p:spPr>
        <p:txBody>
          <a:bodyPr>
            <a:normAutofit/>
          </a:bodyPr>
          <a:lstStyle/>
          <a:p>
            <a:r>
              <a:rPr lang="en-US" sz="4400" b="1" dirty="0"/>
              <a:t>Our Proposed Framework </a:t>
            </a:r>
          </a:p>
        </p:txBody>
      </p:sp>
      <p:pic>
        <p:nvPicPr>
          <p:cNvPr id="10" name="Picture 9"/>
          <p:cNvPicPr/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3101" y="1088548"/>
            <a:ext cx="5740399" cy="5769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9721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文本占位符 1"/>
          <p:cNvSpPr>
            <a:spLocks noGrp="1"/>
          </p:cNvSpPr>
          <p:nvPr>
            <p:ph type="body" orient="vert" sz="quarter" idx="10"/>
          </p:nvPr>
        </p:nvSpPr>
        <p:spPr>
          <a:xfrm>
            <a:off x="11115317" y="1337309"/>
            <a:ext cx="602968" cy="2348425"/>
          </a:xfrm>
          <a:ln>
            <a:noFill/>
          </a:ln>
        </p:spPr>
        <p:txBody>
          <a:bodyPr/>
          <a:lstStyle/>
          <a:p>
            <a:endParaRPr kumimoji="1" lang="en-US" altLang="zh-CN" dirty="0">
              <a:latin typeface="+mn-lt"/>
              <a:ea typeface="+mn-ea"/>
              <a:cs typeface="+mn-ea"/>
              <a:sym typeface="+mn-lt"/>
            </a:endParaRPr>
          </a:p>
          <a:p>
            <a:endParaRPr kumimoji="1"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竖排文本占位符 2"/>
          <p:cNvSpPr>
            <a:spLocks noGrp="1"/>
          </p:cNvSpPr>
          <p:nvPr>
            <p:ph type="body" orient="vert" sz="quarter" idx="11"/>
          </p:nvPr>
        </p:nvSpPr>
        <p:spPr>
          <a:xfrm>
            <a:off x="10483568" y="799460"/>
            <a:ext cx="600147" cy="537847"/>
          </a:xfrm>
        </p:spPr>
        <p:txBody>
          <a:bodyPr/>
          <a:lstStyle/>
          <a:p>
            <a:endParaRPr kumimoji="1" lang="en-US" altLang="zh-CN" dirty="0">
              <a:cs typeface="+mn-ea"/>
              <a:sym typeface="+mn-lt"/>
            </a:endParaRPr>
          </a:p>
          <a:p>
            <a:endParaRPr kumimoji="1" lang="zh-CN" altLang="en-US" dirty="0">
              <a:cs typeface="+mn-ea"/>
              <a:sym typeface="+mn-lt"/>
            </a:endParaRPr>
          </a:p>
        </p:txBody>
      </p:sp>
      <p:sp>
        <p:nvSpPr>
          <p:cNvPr id="6" name="饼图 5"/>
          <p:cNvSpPr/>
          <p:nvPr/>
        </p:nvSpPr>
        <p:spPr>
          <a:xfrm>
            <a:off x="2602541" y="3673203"/>
            <a:ext cx="2740040" cy="2740040"/>
          </a:xfrm>
          <a:prstGeom prst="pie">
            <a:avLst>
              <a:gd name="adj1" fmla="val 10800000"/>
              <a:gd name="adj2" fmla="val 16200000"/>
            </a:avLst>
          </a:prstGeom>
          <a:solidFill>
            <a:schemeClr val="accent3">
              <a:lumMod val="50000"/>
            </a:schemeClr>
          </a:solidFill>
          <a:ln>
            <a:solidFill>
              <a:schemeClr val="accent4">
                <a:lumMod val="50000"/>
              </a:schemeClr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微软雅黑"/>
              <a:cs typeface="+mn-ea"/>
              <a:sym typeface="+mn-lt"/>
            </a:endParaRPr>
          </a:p>
        </p:txBody>
      </p:sp>
      <p:sp>
        <p:nvSpPr>
          <p:cNvPr id="7" name="饼图 6"/>
          <p:cNvSpPr/>
          <p:nvPr/>
        </p:nvSpPr>
        <p:spPr>
          <a:xfrm flipH="1">
            <a:off x="4097235" y="2303183"/>
            <a:ext cx="2740040" cy="2740040"/>
          </a:xfrm>
          <a:prstGeom prst="pie">
            <a:avLst>
              <a:gd name="adj1" fmla="val 10800000"/>
              <a:gd name="adj2" fmla="val 16200000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4">
                <a:lumMod val="50000"/>
              </a:schemeClr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微软雅黑"/>
              <a:cs typeface="+mn-ea"/>
              <a:sym typeface="+mn-lt"/>
            </a:endParaRPr>
          </a:p>
        </p:txBody>
      </p:sp>
      <p:sp>
        <p:nvSpPr>
          <p:cNvPr id="9" name="饼图 8"/>
          <p:cNvSpPr/>
          <p:nvPr/>
        </p:nvSpPr>
        <p:spPr>
          <a:xfrm flipH="1" flipV="1">
            <a:off x="4088763" y="3673203"/>
            <a:ext cx="2740040" cy="2740040"/>
          </a:xfrm>
          <a:prstGeom prst="pie">
            <a:avLst>
              <a:gd name="adj1" fmla="val 10800000"/>
              <a:gd name="adj2" fmla="val 16200000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4">
                <a:lumMod val="50000"/>
              </a:schemeClr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微软雅黑"/>
              <a:cs typeface="+mn-ea"/>
              <a:sym typeface="+mn-lt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856303" y="3737211"/>
            <a:ext cx="16321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2400" b="1" i="0" u="none" strike="noStrike" kern="0" cap="none" spc="0" normalizeH="0" baseline="0" noProof="0" dirty="0">
                <a:ln>
                  <a:noFill/>
                </a:ln>
                <a:solidFill>
                  <a:srgbClr val="5AD9CC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微软雅黑"/>
                <a:cs typeface="+mn-ea"/>
                <a:sym typeface="+mn-lt"/>
              </a:rPr>
              <a:t>DFS Code</a:t>
            </a:r>
            <a:endParaRPr kumimoji="0" lang="zh-CN" altLang="en-US" sz="2400" b="0" i="0" u="none" strike="noStrike" kern="0" cap="none" spc="0" normalizeH="0" baseline="0" noProof="0" dirty="0">
              <a:ln>
                <a:noFill/>
              </a:ln>
              <a:solidFill>
                <a:srgbClr val="5AD9CC">
                  <a:lumMod val="50000"/>
                </a:srgbClr>
              </a:solidFill>
              <a:effectLst/>
              <a:uLnTx/>
              <a:uFillTx/>
              <a:latin typeface="Century Gothic"/>
              <a:ea typeface="微软雅黑"/>
              <a:cs typeface="+mn-ea"/>
              <a:sym typeface="+mn-lt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7040509" y="2227699"/>
            <a:ext cx="3871573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微软雅黑"/>
                <a:cs typeface="+mn-ea"/>
                <a:sym typeface="+mn-lt"/>
              </a:rPr>
              <a:t>DFS Lexicographic Order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微软雅黑"/>
                <a:cs typeface="+mn-ea"/>
                <a:sym typeface="+mn-lt"/>
              </a:rPr>
              <a:t>VS Minimum DFS </a:t>
            </a:r>
            <a:r>
              <a:rPr kumimoji="1" lang="en-US" altLang="zh-CN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微软雅黑"/>
                <a:cs typeface="+mn-ea"/>
                <a:sym typeface="+mn-lt"/>
              </a:rPr>
              <a:t>Code</a:t>
            </a:r>
            <a:endParaRPr kumimoji="1" lang="en-US" altLang="zh-CN" sz="2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微软雅黑"/>
              <a:cs typeface="+mn-ea"/>
              <a:sym typeface="+mn-lt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7258732" y="5866767"/>
            <a:ext cx="234070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微软雅黑"/>
                <a:cs typeface="+mn-ea"/>
                <a:sym typeface="+mn-lt"/>
              </a:rPr>
              <a:t>DFS Code </a:t>
            </a:r>
            <a:r>
              <a:rPr kumimoji="1" lang="en-US" altLang="zh-CN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微软雅黑"/>
                <a:cs typeface="+mn-ea"/>
                <a:sym typeface="+mn-lt"/>
              </a:rPr>
              <a:t>Tree</a:t>
            </a:r>
            <a:endParaRPr kumimoji="0" lang="zh-CN" alt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微软雅黑"/>
              <a:cs typeface="+mn-ea"/>
              <a:sym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878992" y="414288"/>
            <a:ext cx="4071244" cy="898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lnSpc>
                <a:spcPct val="130000"/>
              </a:lnSpc>
              <a:spcBef>
                <a:spcPts val="600"/>
              </a:spcBef>
            </a:pPr>
            <a:r>
              <a:rPr lang="en-US" sz="4400" b="1" dirty="0" smtClean="0">
                <a:solidFill>
                  <a:prstClr val="black"/>
                </a:solidFill>
                <a:latin typeface="Calibri"/>
                <a:ea typeface="+mj-ea"/>
                <a:cs typeface="+mj-cs"/>
              </a:rPr>
              <a:t>gSpan Algorithm</a:t>
            </a:r>
            <a:endParaRPr lang="en-US" sz="4400" b="1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03734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Rectangle 2"/>
          <p:cNvSpPr>
            <a:spLocks noGrp="1" noChangeArrowheads="1"/>
          </p:cNvSpPr>
          <p:nvPr>
            <p:ph type="title"/>
          </p:nvPr>
        </p:nvSpPr>
        <p:spPr>
          <a:xfrm>
            <a:off x="4153694" y="633413"/>
            <a:ext cx="3459162" cy="550863"/>
          </a:xfrm>
        </p:spPr>
        <p:txBody>
          <a:bodyPr>
            <a:no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sz="4400" b="1" cap="none" dirty="0">
                <a:solidFill>
                  <a:srgbClr val="94B6D2"/>
                </a:solidFill>
                <a:latin typeface="Calibri"/>
              </a:rPr>
              <a:t> </a:t>
            </a:r>
            <a:r>
              <a:rPr lang="en-US" sz="4400" b="1" cap="none" dirty="0" smtClean="0">
                <a:solidFill>
                  <a:prstClr val="black"/>
                </a:solidFill>
                <a:latin typeface="Calibri"/>
              </a:rPr>
              <a:t>DFS Code</a:t>
            </a:r>
            <a:endParaRPr lang="en-US" altLang="en-US" sz="4400" b="1" cap="none" dirty="0"/>
          </a:p>
        </p:txBody>
      </p:sp>
      <p:sp>
        <p:nvSpPr>
          <p:cNvPr id="24579" name="Slide Number Placeholder 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4633" name="Text Box 48"/>
          <p:cNvSpPr txBox="1">
            <a:spLocks noChangeArrowheads="1"/>
          </p:cNvSpPr>
          <p:nvPr/>
        </p:nvSpPr>
        <p:spPr bwMode="auto">
          <a:xfrm>
            <a:off x="4876800" y="3367087"/>
            <a:ext cx="1841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4628" name="Text Box 47"/>
          <p:cNvSpPr txBox="1">
            <a:spLocks noChangeArrowheads="1"/>
          </p:cNvSpPr>
          <p:nvPr/>
        </p:nvSpPr>
        <p:spPr bwMode="auto">
          <a:xfrm>
            <a:off x="5791199" y="2743200"/>
            <a:ext cx="1841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4619" name="Text Box 49"/>
          <p:cNvSpPr txBox="1">
            <a:spLocks noChangeArrowheads="1"/>
          </p:cNvSpPr>
          <p:nvPr/>
        </p:nvSpPr>
        <p:spPr bwMode="auto">
          <a:xfrm>
            <a:off x="4267200" y="3962401"/>
            <a:ext cx="1841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4616" name="Text Box 51"/>
          <p:cNvSpPr txBox="1">
            <a:spLocks noChangeArrowheads="1"/>
          </p:cNvSpPr>
          <p:nvPr/>
        </p:nvSpPr>
        <p:spPr bwMode="auto">
          <a:xfrm>
            <a:off x="5638800" y="3276600"/>
            <a:ext cx="1841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ill Sans MT" panose="020B05020201040202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Gill Sans MT" panose="020B05020201040202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Gill Sans MT" panose="020B0502020104020203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1496" y="2485712"/>
            <a:ext cx="2145978" cy="28105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904023" y="2481590"/>
            <a:ext cx="49885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v</a:t>
            </a:r>
            <a:r>
              <a:rPr lang="en-US" sz="2800" b="1" baseline="-25000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1</a:t>
            </a:r>
            <a:endParaRPr lang="en-US" sz="2800" dirty="0"/>
          </a:p>
        </p:txBody>
      </p:sp>
      <p:sp>
        <p:nvSpPr>
          <p:cNvPr id="50" name="TextBox 49"/>
          <p:cNvSpPr txBox="1"/>
          <p:nvPr/>
        </p:nvSpPr>
        <p:spPr>
          <a:xfrm>
            <a:off x="2844932" y="3584703"/>
            <a:ext cx="49885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v</a:t>
            </a:r>
            <a:r>
              <a:rPr lang="en-US" sz="28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2</a:t>
            </a:r>
            <a:endParaRPr lang="en-US" sz="2800" dirty="0"/>
          </a:p>
        </p:txBody>
      </p:sp>
      <p:sp>
        <p:nvSpPr>
          <p:cNvPr id="51" name="TextBox 50"/>
          <p:cNvSpPr txBox="1"/>
          <p:nvPr/>
        </p:nvSpPr>
        <p:spPr>
          <a:xfrm>
            <a:off x="2844932" y="4499290"/>
            <a:ext cx="49885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v</a:t>
            </a:r>
            <a:r>
              <a:rPr lang="en-US" sz="28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3</a:t>
            </a:r>
            <a:endParaRPr lang="en-US" sz="2800" dirty="0"/>
          </a:p>
        </p:txBody>
      </p:sp>
      <p:sp>
        <p:nvSpPr>
          <p:cNvPr id="52" name="TextBox 51"/>
          <p:cNvSpPr txBox="1"/>
          <p:nvPr/>
        </p:nvSpPr>
        <p:spPr>
          <a:xfrm>
            <a:off x="5060950" y="4669178"/>
            <a:ext cx="49885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v</a:t>
            </a:r>
            <a:r>
              <a:rPr lang="en-US" sz="28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4</a:t>
            </a:r>
            <a:endParaRPr lang="en-US" sz="2800" dirty="0"/>
          </a:p>
        </p:txBody>
      </p:sp>
      <p:sp>
        <p:nvSpPr>
          <p:cNvPr id="53" name="TextBox 52"/>
          <p:cNvSpPr txBox="1"/>
          <p:nvPr/>
        </p:nvSpPr>
        <p:spPr>
          <a:xfrm>
            <a:off x="7276968" y="2867583"/>
            <a:ext cx="365912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28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E</a:t>
            </a:r>
            <a:r>
              <a:rPr lang="en-US" sz="28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1</a:t>
            </a:r>
            <a:r>
              <a:rPr lang="en-US" sz="28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= (v</a:t>
            </a:r>
            <a:r>
              <a:rPr lang="en-US" sz="28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1</a:t>
            </a:r>
            <a:r>
              <a:rPr lang="en-US" sz="28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, v</a:t>
            </a:r>
            <a:r>
              <a:rPr lang="en-US" sz="28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2</a:t>
            </a:r>
            <a:r>
              <a:rPr lang="en-US" sz="28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n-US" sz="28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, a </a:t>
            </a:r>
            <a:r>
              <a:rPr lang="en-US" sz="28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, a , q) </a:t>
            </a:r>
          </a:p>
          <a:p>
            <a:pPr lvl="0"/>
            <a:r>
              <a:rPr lang="en-US" sz="28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E</a:t>
            </a:r>
            <a:r>
              <a:rPr lang="en-US" sz="28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2</a:t>
            </a:r>
            <a:r>
              <a:rPr lang="en-US" sz="28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= (v</a:t>
            </a:r>
            <a:r>
              <a:rPr lang="en-US" sz="28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2</a:t>
            </a:r>
            <a:r>
              <a:rPr lang="en-US" sz="28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, v</a:t>
            </a:r>
            <a:r>
              <a:rPr lang="en-US" sz="28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3</a:t>
            </a:r>
            <a:r>
              <a:rPr lang="en-US" sz="28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, a , </a:t>
            </a:r>
            <a:r>
              <a:rPr lang="en-US" sz="28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a </a:t>
            </a:r>
            <a:r>
              <a:rPr lang="en-US" sz="28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, r)  </a:t>
            </a:r>
            <a:endParaRPr lang="en-US" sz="2800" dirty="0">
              <a:solidFill>
                <a:prstClr val="black"/>
              </a:solidFill>
            </a:endParaRPr>
          </a:p>
          <a:p>
            <a:pPr lvl="0"/>
            <a:r>
              <a:rPr lang="en-US" sz="28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E</a:t>
            </a:r>
            <a:r>
              <a:rPr lang="en-US" sz="28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3</a:t>
            </a:r>
            <a:r>
              <a:rPr lang="en-US" sz="28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= (</a:t>
            </a:r>
            <a:r>
              <a:rPr lang="en-US" sz="28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v</a:t>
            </a:r>
            <a:r>
              <a:rPr lang="en-US" sz="2800" b="1" baseline="-25000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3</a:t>
            </a:r>
            <a:r>
              <a:rPr lang="en-US" sz="28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n-US" sz="28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, </a:t>
            </a:r>
            <a:r>
              <a:rPr lang="en-US" sz="28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v</a:t>
            </a:r>
            <a:r>
              <a:rPr lang="en-US" sz="2800" b="1" baseline="-25000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1</a:t>
            </a:r>
            <a:r>
              <a:rPr lang="en-US" sz="28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n-US" sz="28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, a , a , r)  </a:t>
            </a:r>
            <a:endParaRPr lang="en-US" sz="2800" dirty="0">
              <a:solidFill>
                <a:prstClr val="black"/>
              </a:solidFill>
            </a:endParaRPr>
          </a:p>
          <a:p>
            <a:pPr lvl="0"/>
            <a:r>
              <a:rPr lang="en-US" sz="28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E</a:t>
            </a:r>
            <a:r>
              <a:rPr lang="en-US" sz="28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4</a:t>
            </a:r>
            <a:r>
              <a:rPr lang="en-US" sz="28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= (</a:t>
            </a:r>
            <a:r>
              <a:rPr lang="en-US" sz="28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v</a:t>
            </a:r>
            <a:r>
              <a:rPr lang="en-US" sz="2800" b="1" baseline="-25000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2</a:t>
            </a:r>
            <a:r>
              <a:rPr lang="en-US" sz="28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n-US" sz="28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, v</a:t>
            </a:r>
            <a:r>
              <a:rPr lang="en-US" sz="28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4</a:t>
            </a:r>
            <a:r>
              <a:rPr lang="en-US" sz="28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, a , </a:t>
            </a:r>
            <a:r>
              <a:rPr lang="en-US" sz="28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b </a:t>
            </a:r>
            <a:r>
              <a:rPr lang="en-US" sz="28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, r)  </a:t>
            </a:r>
            <a:endParaRPr lang="en-US" sz="28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6946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文本占位符 1"/>
          <p:cNvSpPr>
            <a:spLocks noGrp="1"/>
          </p:cNvSpPr>
          <p:nvPr>
            <p:ph type="body" orient="vert" sz="quarter" idx="10"/>
          </p:nvPr>
        </p:nvSpPr>
        <p:spPr>
          <a:xfrm>
            <a:off x="11115317" y="1337309"/>
            <a:ext cx="602968" cy="2348425"/>
          </a:xfrm>
        </p:spPr>
        <p:txBody>
          <a:bodyPr/>
          <a:lstStyle/>
          <a:p>
            <a:endParaRPr kumimoji="1" lang="en-US" altLang="zh-CN" dirty="0" smtClean="0">
              <a:latin typeface="+mn-lt"/>
              <a:ea typeface="+mn-ea"/>
              <a:cs typeface="+mn-ea"/>
              <a:sym typeface="+mn-lt"/>
            </a:endParaRPr>
          </a:p>
          <a:p>
            <a:endParaRPr kumimoji="1"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竖排文本占位符 2"/>
          <p:cNvSpPr>
            <a:spLocks noGrp="1"/>
          </p:cNvSpPr>
          <p:nvPr>
            <p:ph type="body" orient="vert" sz="quarter" idx="11"/>
          </p:nvPr>
        </p:nvSpPr>
        <p:spPr/>
        <p:txBody>
          <a:bodyPr/>
          <a:lstStyle/>
          <a:p>
            <a:endParaRPr kumimoji="1" lang="en-US" altLang="zh-CN" dirty="0" smtClean="0">
              <a:cs typeface="+mn-ea"/>
              <a:sym typeface="+mn-lt"/>
            </a:endParaRPr>
          </a:p>
          <a:p>
            <a:endParaRPr kumimoji="1" lang="zh-CN" altLang="en-US" dirty="0">
              <a:cs typeface="+mn-ea"/>
              <a:sym typeface="+mn-lt"/>
            </a:endParaRPr>
          </a:p>
        </p:txBody>
      </p:sp>
      <p:sp>
        <p:nvSpPr>
          <p:cNvPr id="6" name="饼图 5"/>
          <p:cNvSpPr/>
          <p:nvPr/>
        </p:nvSpPr>
        <p:spPr>
          <a:xfrm>
            <a:off x="2482453" y="3685734"/>
            <a:ext cx="2740040" cy="2740040"/>
          </a:xfrm>
          <a:prstGeom prst="pie">
            <a:avLst>
              <a:gd name="adj1" fmla="val 10800000"/>
              <a:gd name="adj2" fmla="val 16200000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4">
                <a:lumMod val="50000"/>
              </a:schemeClr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微软雅黑"/>
              <a:cs typeface="+mn-ea"/>
              <a:sym typeface="+mn-lt"/>
            </a:endParaRPr>
          </a:p>
        </p:txBody>
      </p:sp>
      <p:sp>
        <p:nvSpPr>
          <p:cNvPr id="7" name="饼图 6"/>
          <p:cNvSpPr/>
          <p:nvPr/>
        </p:nvSpPr>
        <p:spPr>
          <a:xfrm flipH="1">
            <a:off x="3852863" y="2309384"/>
            <a:ext cx="2740040" cy="2740040"/>
          </a:xfrm>
          <a:prstGeom prst="pie">
            <a:avLst>
              <a:gd name="adj1" fmla="val 10800000"/>
              <a:gd name="adj2" fmla="val 16200000"/>
            </a:avLst>
          </a:prstGeom>
          <a:solidFill>
            <a:schemeClr val="accent3">
              <a:lumMod val="50000"/>
            </a:schemeClr>
          </a:solidFill>
          <a:ln>
            <a:solidFill>
              <a:schemeClr val="accent4">
                <a:lumMod val="50000"/>
              </a:schemeClr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微软雅黑"/>
              <a:cs typeface="+mn-ea"/>
              <a:sym typeface="+mn-lt"/>
            </a:endParaRPr>
          </a:p>
        </p:txBody>
      </p:sp>
      <p:sp>
        <p:nvSpPr>
          <p:cNvPr id="9" name="饼图 8"/>
          <p:cNvSpPr/>
          <p:nvPr/>
        </p:nvSpPr>
        <p:spPr>
          <a:xfrm flipH="1" flipV="1">
            <a:off x="3853253" y="3685734"/>
            <a:ext cx="2740040" cy="2740040"/>
          </a:xfrm>
          <a:prstGeom prst="pie">
            <a:avLst>
              <a:gd name="adj1" fmla="val 10800000"/>
              <a:gd name="adj2" fmla="val 16200000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4">
                <a:lumMod val="50000"/>
              </a:schemeClr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微软雅黑"/>
              <a:cs typeface="+mn-ea"/>
              <a:sym typeface="+mn-lt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664720" y="3824624"/>
            <a:ext cx="16321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微软雅黑"/>
                <a:cs typeface="+mn-ea"/>
                <a:sym typeface="+mn-lt"/>
              </a:rPr>
              <a:t>DFS Code</a:t>
            </a:r>
            <a:endParaRPr kumimoji="0" lang="zh-CN" alt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微软雅黑"/>
              <a:cs typeface="+mn-ea"/>
              <a:sym typeface="+mn-lt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6712040" y="2259026"/>
            <a:ext cx="3871573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2400" b="1" i="0" u="none" strike="noStrike" kern="0" cap="none" spc="0" normalizeH="0" baseline="0" noProof="0" dirty="0">
                <a:ln>
                  <a:noFill/>
                </a:ln>
                <a:solidFill>
                  <a:srgbClr val="5AD9CC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微软雅黑"/>
                <a:cs typeface="+mn-ea"/>
                <a:sym typeface="+mn-lt"/>
              </a:rPr>
              <a:t>DFS Lexicographic Order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2400" b="1" i="0" u="none" strike="noStrike" kern="0" cap="none" spc="0" normalizeH="0" baseline="0" noProof="0" dirty="0">
                <a:ln>
                  <a:noFill/>
                </a:ln>
                <a:solidFill>
                  <a:srgbClr val="5AD9CC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微软雅黑"/>
                <a:cs typeface="+mn-ea"/>
                <a:sym typeface="+mn-lt"/>
              </a:rPr>
              <a:t>VS Minimum DFS </a:t>
            </a:r>
            <a:r>
              <a:rPr kumimoji="1" lang="en-US" altLang="zh-CN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5AD9CC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微软雅黑"/>
                <a:cs typeface="+mn-ea"/>
                <a:sym typeface="+mn-lt"/>
              </a:rPr>
              <a:t>Code</a:t>
            </a:r>
            <a:endParaRPr kumimoji="1" lang="en-US" altLang="zh-CN" sz="2400" b="1" i="0" u="none" strike="noStrike" kern="0" cap="none" spc="0" normalizeH="0" baseline="0" noProof="0" dirty="0">
              <a:ln>
                <a:noFill/>
              </a:ln>
              <a:solidFill>
                <a:srgbClr val="5AD9CC">
                  <a:lumMod val="50000"/>
                </a:srgbClr>
              </a:solidFill>
              <a:effectLst/>
              <a:uLnTx/>
              <a:uFillTx/>
              <a:latin typeface="Century Gothic"/>
              <a:ea typeface="微软雅黑"/>
              <a:cs typeface="+mn-ea"/>
              <a:sym typeface="+mn-lt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7015394" y="5833683"/>
            <a:ext cx="234070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微软雅黑"/>
                <a:cs typeface="+mn-ea"/>
                <a:sym typeface="+mn-lt"/>
              </a:rPr>
              <a:t>DFS Code </a:t>
            </a:r>
            <a:r>
              <a:rPr kumimoji="1" lang="en-US" altLang="zh-CN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微软雅黑"/>
                <a:cs typeface="+mn-ea"/>
                <a:sym typeface="+mn-lt"/>
              </a:rPr>
              <a:t>Tree</a:t>
            </a:r>
            <a:endParaRPr kumimoji="1" lang="en-US" altLang="zh-CN" sz="2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微软雅黑"/>
              <a:cs typeface="+mn-ea"/>
              <a:sym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262714" y="405307"/>
            <a:ext cx="4199483" cy="898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lnSpc>
                <a:spcPct val="130000"/>
              </a:lnSpc>
              <a:spcBef>
                <a:spcPts val="600"/>
              </a:spcBef>
            </a:pPr>
            <a:r>
              <a:rPr lang="en-US" sz="4400" b="1" dirty="0">
                <a:solidFill>
                  <a:srgbClr val="94B6D2"/>
                </a:solidFill>
                <a:latin typeface="Calibri"/>
                <a:ea typeface="+mj-ea"/>
                <a:cs typeface="+mj-cs"/>
              </a:rPr>
              <a:t> </a:t>
            </a:r>
            <a:r>
              <a:rPr lang="en-US" sz="4400" b="1" dirty="0" smtClean="0">
                <a:solidFill>
                  <a:prstClr val="black"/>
                </a:solidFill>
                <a:latin typeface="Calibri"/>
                <a:ea typeface="+mj-ea"/>
                <a:cs typeface="+mj-cs"/>
              </a:rPr>
              <a:t>gSpan Algorithm</a:t>
            </a:r>
            <a:endParaRPr lang="en-US" sz="4400" b="1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22926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45613" y="348439"/>
            <a:ext cx="10402529" cy="576263"/>
          </a:xfrm>
        </p:spPr>
        <p:txBody>
          <a:bodyPr wrap="square" numCol="1" anchorCtr="0" compatLnSpc="1">
            <a:prstTxWarp prst="textNoShape">
              <a:avLst/>
            </a:prstTxWarp>
            <a:noAutofit/>
          </a:bodyPr>
          <a:lstStyle/>
          <a:p>
            <a:pPr algn="ctr" eaLnBrk="1" hangingPunct="1"/>
            <a:r>
              <a:rPr lang="en-US" sz="4400" b="1" cap="none" dirty="0">
                <a:solidFill>
                  <a:srgbClr val="94B6D2"/>
                </a:solidFill>
                <a:latin typeface="Calibri"/>
              </a:rPr>
              <a:t> </a:t>
            </a:r>
            <a:r>
              <a:rPr lang="en-US" sz="4400" b="1" cap="none" dirty="0" smtClean="0">
                <a:solidFill>
                  <a:prstClr val="black"/>
                </a:solidFill>
                <a:latin typeface="Calibri"/>
              </a:rPr>
              <a:t>DFS Code and Isomorphic Graph</a:t>
            </a:r>
            <a:endParaRPr lang="en-US" altLang="en-US" sz="4400" b="1" cap="none" dirty="0" smtClean="0">
              <a:ea typeface="MS PGothic" panose="020B0600070205080204" pitchFamily="34" charset="-128"/>
            </a:endParaRPr>
          </a:p>
        </p:txBody>
      </p:sp>
      <p:pic>
        <p:nvPicPr>
          <p:cNvPr id="40" name="Picture 3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315" y="1273532"/>
            <a:ext cx="2145978" cy="2810500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3">
            <a:clrChange>
              <a:clrFrom>
                <a:srgbClr val="2E0811"/>
              </a:clrFrom>
              <a:clrTo>
                <a:srgbClr val="2E0811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726478" y="1302463"/>
            <a:ext cx="1902117" cy="2810500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03904" y="1302463"/>
            <a:ext cx="1889924" cy="2810500"/>
          </a:xfrm>
          <a:prstGeom prst="rect">
            <a:avLst/>
          </a:prstGeom>
        </p:spPr>
      </p:pic>
      <p:sp>
        <p:nvSpPr>
          <p:cNvPr id="44" name="TextBox 43"/>
          <p:cNvSpPr txBox="1"/>
          <p:nvPr/>
        </p:nvSpPr>
        <p:spPr>
          <a:xfrm>
            <a:off x="4712327" y="4678393"/>
            <a:ext cx="3163366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E</a:t>
            </a:r>
            <a:r>
              <a:rPr lang="en-US" sz="2400" b="1" baseline="-25000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1</a:t>
            </a:r>
            <a:r>
              <a:rPr lang="en-US" sz="2400" b="1" dirty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n-US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= (v</a:t>
            </a:r>
            <a:r>
              <a:rPr lang="en-US" sz="2400" b="1" baseline="-25000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1</a:t>
            </a:r>
            <a:r>
              <a:rPr lang="en-US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, v</a:t>
            </a:r>
            <a:r>
              <a:rPr lang="en-US" sz="2400" b="1" baseline="-25000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2</a:t>
            </a:r>
            <a:r>
              <a:rPr lang="en-US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, a , a , q) </a:t>
            </a:r>
          </a:p>
          <a:p>
            <a:r>
              <a:rPr lang="en-US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E</a:t>
            </a:r>
            <a:r>
              <a:rPr lang="en-US" sz="2400" b="1" baseline="-25000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2</a:t>
            </a:r>
            <a:r>
              <a:rPr lang="en-US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n-US" sz="2400" b="1" dirty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= (</a:t>
            </a:r>
            <a:r>
              <a:rPr lang="en-US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v</a:t>
            </a:r>
            <a:r>
              <a:rPr lang="en-US" sz="2400" b="1" baseline="-25000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2</a:t>
            </a:r>
            <a:r>
              <a:rPr lang="en-US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n-US" sz="2400" b="1" dirty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, </a:t>
            </a:r>
            <a:r>
              <a:rPr lang="en-US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v</a:t>
            </a:r>
            <a:r>
              <a:rPr lang="en-US" sz="2400" b="1" baseline="-25000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3</a:t>
            </a:r>
            <a:r>
              <a:rPr lang="en-US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n-US" sz="2400" b="1" dirty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, a , </a:t>
            </a:r>
            <a:r>
              <a:rPr lang="en-US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b </a:t>
            </a:r>
            <a:r>
              <a:rPr lang="en-US" sz="2400" b="1" dirty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, </a:t>
            </a:r>
            <a:r>
              <a:rPr lang="en-US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r)  </a:t>
            </a:r>
            <a:endParaRPr lang="en-US" sz="2400" dirty="0"/>
          </a:p>
          <a:p>
            <a:r>
              <a:rPr lang="en-US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E</a:t>
            </a:r>
            <a:r>
              <a:rPr lang="en-US" sz="2400" b="1" baseline="-25000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3</a:t>
            </a:r>
            <a:r>
              <a:rPr lang="en-US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n-US" sz="2400" b="1" dirty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= (</a:t>
            </a:r>
            <a:r>
              <a:rPr lang="en-US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v</a:t>
            </a:r>
            <a:r>
              <a:rPr lang="en-US" sz="2400" b="1" baseline="-25000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2</a:t>
            </a:r>
            <a:r>
              <a:rPr lang="en-US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n-US" sz="2400" b="1" dirty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, </a:t>
            </a:r>
            <a:r>
              <a:rPr lang="en-US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v</a:t>
            </a:r>
            <a:r>
              <a:rPr lang="en-US" sz="2400" b="1" baseline="-25000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4</a:t>
            </a:r>
            <a:r>
              <a:rPr lang="en-US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n-US" sz="2400" b="1" dirty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, a , a , </a:t>
            </a:r>
            <a:r>
              <a:rPr lang="en-US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r)  </a:t>
            </a:r>
            <a:endParaRPr lang="en-US" sz="2400" dirty="0"/>
          </a:p>
          <a:p>
            <a:r>
              <a:rPr lang="en-US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E</a:t>
            </a:r>
            <a:r>
              <a:rPr lang="en-US" sz="2400" b="1" baseline="-25000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4</a:t>
            </a:r>
            <a:r>
              <a:rPr lang="en-US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n-US" sz="2400" b="1" dirty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= (</a:t>
            </a:r>
            <a:r>
              <a:rPr lang="en-US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v</a:t>
            </a:r>
            <a:r>
              <a:rPr lang="en-US" sz="2400" b="1" baseline="-25000" dirty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4</a:t>
            </a:r>
            <a:r>
              <a:rPr lang="en-US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n-US" sz="2400" b="1" dirty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, </a:t>
            </a:r>
            <a:r>
              <a:rPr lang="en-US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v</a:t>
            </a:r>
            <a:r>
              <a:rPr lang="en-US" sz="2400" b="1" baseline="-25000" dirty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1</a:t>
            </a:r>
            <a:r>
              <a:rPr lang="en-US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n-US" sz="2400" b="1" dirty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, a , a , </a:t>
            </a:r>
            <a:r>
              <a:rPr lang="en-US" sz="24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r)  </a:t>
            </a:r>
            <a:endParaRPr lang="en-US" sz="2400" dirty="0"/>
          </a:p>
        </p:txBody>
      </p:sp>
      <p:sp>
        <p:nvSpPr>
          <p:cNvPr id="45" name="TextBox 44"/>
          <p:cNvSpPr txBox="1"/>
          <p:nvPr/>
        </p:nvSpPr>
        <p:spPr>
          <a:xfrm>
            <a:off x="899945" y="4678394"/>
            <a:ext cx="303259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E</a:t>
            </a:r>
            <a:r>
              <a:rPr lang="en-US" sz="24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1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= (v</a:t>
            </a:r>
            <a:r>
              <a:rPr lang="en-US" sz="24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1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, v</a:t>
            </a:r>
            <a:r>
              <a:rPr lang="en-US" sz="24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2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, a , a , q) </a:t>
            </a:r>
          </a:p>
          <a:p>
            <a:pPr lvl="0"/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E</a:t>
            </a:r>
            <a:r>
              <a:rPr lang="en-US" sz="24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2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= (v</a:t>
            </a:r>
            <a:r>
              <a:rPr lang="en-US" sz="24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2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, v</a:t>
            </a:r>
            <a:r>
              <a:rPr lang="en-US" sz="24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3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, a , </a:t>
            </a:r>
            <a:r>
              <a:rPr lang="en-US" sz="24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a 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, r)  </a:t>
            </a:r>
            <a:endParaRPr lang="en-US" sz="2400" dirty="0">
              <a:solidFill>
                <a:prstClr val="black"/>
              </a:solidFill>
            </a:endParaRPr>
          </a:p>
          <a:p>
            <a:pPr lvl="0"/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E</a:t>
            </a:r>
            <a:r>
              <a:rPr lang="en-US" sz="24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3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= (</a:t>
            </a:r>
            <a:r>
              <a:rPr lang="en-US" sz="24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v</a:t>
            </a:r>
            <a:r>
              <a:rPr lang="en-US" sz="2400" b="1" baseline="-25000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3</a:t>
            </a:r>
            <a:r>
              <a:rPr lang="en-US" sz="24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, </a:t>
            </a:r>
            <a:r>
              <a:rPr lang="en-US" sz="24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v</a:t>
            </a:r>
            <a:r>
              <a:rPr lang="en-US" sz="2400" b="1" baseline="-25000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1</a:t>
            </a:r>
            <a:r>
              <a:rPr lang="en-US" sz="24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, a , a , r)  </a:t>
            </a:r>
            <a:endParaRPr lang="en-US" sz="2400" dirty="0">
              <a:solidFill>
                <a:prstClr val="black"/>
              </a:solidFill>
            </a:endParaRPr>
          </a:p>
          <a:p>
            <a:pPr lvl="0"/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E</a:t>
            </a:r>
            <a:r>
              <a:rPr lang="en-US" sz="24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4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= (</a:t>
            </a:r>
            <a:r>
              <a:rPr lang="en-US" sz="24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v</a:t>
            </a:r>
            <a:r>
              <a:rPr lang="en-US" sz="2400" b="1" baseline="-25000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2</a:t>
            </a:r>
            <a:r>
              <a:rPr lang="en-US" sz="24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, v</a:t>
            </a:r>
            <a:r>
              <a:rPr lang="en-US" sz="24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4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, a , </a:t>
            </a:r>
            <a:r>
              <a:rPr lang="en-US" sz="24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b 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, r)  </a:t>
            </a:r>
            <a:endParaRPr lang="en-US" sz="2400" dirty="0">
              <a:solidFill>
                <a:prstClr val="black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8726478" y="4678393"/>
            <a:ext cx="310159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E</a:t>
            </a:r>
            <a:r>
              <a:rPr lang="en-US" sz="24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1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= (v</a:t>
            </a:r>
            <a:r>
              <a:rPr lang="en-US" sz="24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1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, v</a:t>
            </a:r>
            <a:r>
              <a:rPr lang="en-US" sz="24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2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, a , a , q) </a:t>
            </a:r>
          </a:p>
          <a:p>
            <a:pPr lvl="0"/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E</a:t>
            </a:r>
            <a:r>
              <a:rPr lang="en-US" sz="24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2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= (v</a:t>
            </a:r>
            <a:r>
              <a:rPr lang="en-US" sz="24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2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, v</a:t>
            </a:r>
            <a:r>
              <a:rPr lang="en-US" sz="24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3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, a , </a:t>
            </a:r>
            <a:r>
              <a:rPr lang="en-US" sz="24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a 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, r)  </a:t>
            </a:r>
            <a:endParaRPr lang="en-US" sz="2400" dirty="0">
              <a:solidFill>
                <a:prstClr val="black"/>
              </a:solidFill>
            </a:endParaRPr>
          </a:p>
          <a:p>
            <a:pPr lvl="0"/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E</a:t>
            </a:r>
            <a:r>
              <a:rPr lang="en-US" sz="24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3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= (</a:t>
            </a:r>
            <a:r>
              <a:rPr lang="en-US" sz="24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v</a:t>
            </a:r>
            <a:r>
              <a:rPr lang="en-US" sz="2400" b="1" baseline="-25000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3</a:t>
            </a:r>
            <a:r>
              <a:rPr lang="en-US" sz="24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, </a:t>
            </a:r>
            <a:r>
              <a:rPr lang="en-US" sz="24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v</a:t>
            </a:r>
            <a:r>
              <a:rPr lang="en-US" sz="2400" b="1" baseline="-25000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1</a:t>
            </a:r>
            <a:r>
              <a:rPr lang="en-US" sz="24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, a , a , r)  </a:t>
            </a:r>
            <a:endParaRPr lang="en-US" sz="2400" dirty="0">
              <a:solidFill>
                <a:prstClr val="black"/>
              </a:solidFill>
            </a:endParaRPr>
          </a:p>
          <a:p>
            <a:pPr lvl="0"/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E</a:t>
            </a:r>
            <a:r>
              <a:rPr lang="en-US" sz="24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4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= (v</a:t>
            </a:r>
            <a:r>
              <a:rPr lang="en-US" sz="24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1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, v</a:t>
            </a:r>
            <a:r>
              <a:rPr lang="en-US" sz="2400" b="1" baseline="-25000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4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, a , </a:t>
            </a:r>
            <a:r>
              <a:rPr lang="en-US" sz="24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b </a:t>
            </a:r>
            <a:r>
              <a:rPr lang="en-US" sz="2400" b="1" dirty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, r)  </a:t>
            </a:r>
            <a:endParaRPr lang="en-US" sz="2400" dirty="0">
              <a:solidFill>
                <a:prstClr val="black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309047" y="4011881"/>
            <a:ext cx="622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(G1)</a:t>
            </a:r>
            <a:endParaRPr lang="en-US" dirty="0"/>
          </a:p>
        </p:txBody>
      </p:sp>
      <p:sp>
        <p:nvSpPr>
          <p:cNvPr id="52" name="TextBox 51"/>
          <p:cNvSpPr txBox="1"/>
          <p:nvPr/>
        </p:nvSpPr>
        <p:spPr>
          <a:xfrm>
            <a:off x="5035956" y="4011881"/>
            <a:ext cx="622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(G2)</a:t>
            </a:r>
            <a:endParaRPr lang="en-US" dirty="0"/>
          </a:p>
        </p:txBody>
      </p:sp>
      <p:sp>
        <p:nvSpPr>
          <p:cNvPr id="53" name="TextBox 52"/>
          <p:cNvSpPr txBox="1"/>
          <p:nvPr/>
        </p:nvSpPr>
        <p:spPr>
          <a:xfrm>
            <a:off x="9055250" y="4005685"/>
            <a:ext cx="622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(G3)</a:t>
            </a:r>
            <a:endParaRPr lang="en-US" dirty="0"/>
          </a:p>
        </p:txBody>
      </p:sp>
      <p:sp>
        <p:nvSpPr>
          <p:cNvPr id="49" name="TextBox 48"/>
          <p:cNvSpPr txBox="1"/>
          <p:nvPr/>
        </p:nvSpPr>
        <p:spPr>
          <a:xfrm>
            <a:off x="1620190" y="6362764"/>
            <a:ext cx="15921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DFS Code(G1)</a:t>
            </a:r>
            <a:endParaRPr lang="en-US" dirty="0"/>
          </a:p>
        </p:txBody>
      </p:sp>
      <p:sp>
        <p:nvSpPr>
          <p:cNvPr id="55" name="TextBox 54"/>
          <p:cNvSpPr txBox="1"/>
          <p:nvPr/>
        </p:nvSpPr>
        <p:spPr>
          <a:xfrm>
            <a:off x="5433477" y="6378349"/>
            <a:ext cx="15921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DFS Code(G2)</a:t>
            </a:r>
            <a:endParaRPr lang="en-US" dirty="0"/>
          </a:p>
        </p:txBody>
      </p:sp>
      <p:sp>
        <p:nvSpPr>
          <p:cNvPr id="56" name="TextBox 55"/>
          <p:cNvSpPr txBox="1"/>
          <p:nvPr/>
        </p:nvSpPr>
        <p:spPr>
          <a:xfrm>
            <a:off x="9481222" y="6379699"/>
            <a:ext cx="15921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DFS Code(G3)</a:t>
            </a:r>
            <a:endParaRPr lang="en-US" dirty="0"/>
          </a:p>
        </p:txBody>
      </p:sp>
      <p:cxnSp>
        <p:nvCxnSpPr>
          <p:cNvPr id="57" name="Straight Connector 56"/>
          <p:cNvCxnSpPr/>
          <p:nvPr/>
        </p:nvCxnSpPr>
        <p:spPr>
          <a:xfrm>
            <a:off x="838200" y="4605867"/>
            <a:ext cx="3200400" cy="8466"/>
          </a:xfrm>
          <a:prstGeom prst="line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>
            <a:off x="4030133" y="4580467"/>
            <a:ext cx="8467" cy="2167214"/>
          </a:xfrm>
          <a:prstGeom prst="line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>
            <a:off x="838200" y="4605867"/>
            <a:ext cx="0" cy="2141814"/>
          </a:xfrm>
          <a:prstGeom prst="line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>
            <a:off x="838200" y="6732096"/>
            <a:ext cx="3200400" cy="15585"/>
          </a:xfrm>
          <a:prstGeom prst="line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5606" name="Elbow Connector 25605"/>
          <p:cNvCxnSpPr/>
          <p:nvPr/>
        </p:nvCxnSpPr>
        <p:spPr>
          <a:xfrm flipV="1">
            <a:off x="1931333" y="4233333"/>
            <a:ext cx="473200" cy="381000"/>
          </a:xfrm>
          <a:prstGeom prst="bentConnector3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5607" name="TextBox 25606"/>
          <p:cNvSpPr txBox="1"/>
          <p:nvPr/>
        </p:nvSpPr>
        <p:spPr>
          <a:xfrm>
            <a:off x="2385661" y="4084032"/>
            <a:ext cx="21387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8B8B"/>
                </a:solidFill>
              </a:rPr>
              <a:t>Canonical DFS Code</a:t>
            </a:r>
            <a:endParaRPr lang="en-US" dirty="0">
              <a:solidFill>
                <a:srgbClr val="008B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5814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lidehunter.com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自定义 17">
      <a:dk1>
        <a:srgbClr val="000000"/>
      </a:dk1>
      <a:lt1>
        <a:srgbClr val="FFFFFF"/>
      </a:lt1>
      <a:dk2>
        <a:srgbClr val="000000"/>
      </a:dk2>
      <a:lt2>
        <a:srgbClr val="FFFDFD"/>
      </a:lt2>
      <a:accent1>
        <a:srgbClr val="F9DB7A"/>
      </a:accent1>
      <a:accent2>
        <a:srgbClr val="2581AF"/>
      </a:accent2>
      <a:accent3>
        <a:srgbClr val="5AD9CC"/>
      </a:accent3>
      <a:accent4>
        <a:srgbClr val="F78982"/>
      </a:accent4>
      <a:accent5>
        <a:srgbClr val="A0A4CA"/>
      </a:accent5>
      <a:accent6>
        <a:srgbClr val="515151"/>
      </a:accent6>
      <a:hlink>
        <a:srgbClr val="0563C1"/>
      </a:hlink>
      <a:folHlink>
        <a:srgbClr val="954F72"/>
      </a:folHlink>
    </a:clrScheme>
    <a:fontScheme name="Temp">
      <a:majorFont>
        <a:latin typeface="Century Gothic"/>
        <a:ea typeface="微软雅黑"/>
        <a:cs typeface=""/>
      </a:majorFont>
      <a:minorFont>
        <a:latin typeface="Century Gothic"/>
        <a:ea typeface="微软雅黑"/>
        <a:cs typeface="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lnSpc>
            <a:spcPct val="130000"/>
          </a:lnSpc>
          <a:defRPr sz="1400" dirty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lnSpc>
            <a:spcPct val="130000"/>
          </a:lnSpc>
          <a:spcBef>
            <a:spcPts val="600"/>
          </a:spcBef>
          <a:defRPr sz="1400" kern="0" dirty="0">
            <a:solidFill>
              <a:schemeClr val="bg1"/>
            </a:solidFill>
            <a:latin typeface="微软雅黑" panose="020B0503020204020204" pitchFamily="34" charset="-122"/>
            <a:ea typeface="微软雅黑" panose="020B0503020204020204" pitchFamily="34" charset="-122"/>
            <a:cs typeface="+mn-ea"/>
            <a:sym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ppt/theme/theme5.xml><?xml version="1.0" encoding="utf-8"?>
<a:theme xmlns:a="http://schemas.openxmlformats.org/drawingml/2006/main" name="Project planning overview presentation">
  <a:themeElements>
    <a:clrScheme name="Median">
      <a:dk1>
        <a:sysClr val="windowText" lastClr="000000"/>
      </a:dk1>
      <a:lt1>
        <a:sysClr val="window" lastClr="FFFFFF"/>
      </a:lt1>
      <a:dk2>
        <a:srgbClr val="775F55"/>
      </a:dk2>
      <a:lt2>
        <a:srgbClr val="EBDDC3"/>
      </a:lt2>
      <a:accent1>
        <a:srgbClr val="94B6D2"/>
      </a:accent1>
      <a:accent2>
        <a:srgbClr val="DD8047"/>
      </a:accent2>
      <a:accent3>
        <a:srgbClr val="A5AB81"/>
      </a:accent3>
      <a:accent4>
        <a:srgbClr val="D8B25C"/>
      </a:accent4>
      <a:accent5>
        <a:srgbClr val="7BA79D"/>
      </a:accent5>
      <a:accent6>
        <a:srgbClr val="968C8C"/>
      </a:accent6>
      <a:hlink>
        <a:srgbClr val="F7B615"/>
      </a:hlink>
      <a:folHlink>
        <a:srgbClr val="704404"/>
      </a:folHlink>
    </a:clrScheme>
    <a:fontScheme name="Calibri">
      <a:majorFont>
        <a:latin typeface="Calibri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12000"/>
                <a:satMod val="240000"/>
              </a:schemeClr>
              <a:schemeClr val="phClr">
                <a:tint val="98000"/>
              </a:schemeClr>
            </a:duotone>
          </a:blip>
          <a:tile tx="0" ty="0" sx="100000" sy="100000" flip="none" algn="ctr"/>
        </a:blip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accent1">
              <a:lumMod val="20000"/>
              <a:lumOff val="80000"/>
            </a:schemeClr>
          </a:solidFill>
        </a:ln>
      </a:spPr>
      <a:bodyPr wrap="square" rtlCol="0" anchor="ctr" anchorCtr="1">
        <a:sp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oject planning overview presentation" id="{11734F26-DC3E-4DB1-A7CA-E8974573DED9}" vid="{CE64C202-BC92-45CD-95CB-8071B13D3EF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79</TotalTime>
  <Words>1749</Words>
  <Application>Microsoft Office PowerPoint</Application>
  <PresentationFormat>Widescreen</PresentationFormat>
  <Paragraphs>356</Paragraphs>
  <Slides>38</Slides>
  <Notes>0</Notes>
  <HiddenSlides>0</HiddenSlides>
  <MMClips>0</MMClips>
  <ScaleCrop>false</ScaleCrop>
  <HeadingPairs>
    <vt:vector size="10" baseType="variant">
      <vt:variant>
        <vt:lpstr>Fonts Used</vt:lpstr>
      </vt:variant>
      <vt:variant>
        <vt:i4>20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  <vt:variant>
        <vt:lpstr>Custom Shows</vt:lpstr>
      </vt:variant>
      <vt:variant>
        <vt:i4>1</vt:i4>
      </vt:variant>
    </vt:vector>
  </HeadingPairs>
  <TitlesOfParts>
    <vt:vector size="65" baseType="lpstr">
      <vt:lpstr>Microsoft YaHei</vt:lpstr>
      <vt:lpstr>Microsoft YaHei</vt:lpstr>
      <vt:lpstr>MS PGothic</vt:lpstr>
      <vt:lpstr>Arial</vt:lpstr>
      <vt:lpstr>Arial</vt:lpstr>
      <vt:lpstr>Arial Black</vt:lpstr>
      <vt:lpstr>Calibri</vt:lpstr>
      <vt:lpstr>Calibri (Headings)</vt:lpstr>
      <vt:lpstr>Calibri Light</vt:lpstr>
      <vt:lpstr>Cambria Math</vt:lpstr>
      <vt:lpstr>Century Gothic</vt:lpstr>
      <vt:lpstr>Gill Sans MT</vt:lpstr>
      <vt:lpstr>MTMI</vt:lpstr>
      <vt:lpstr>MTSY</vt:lpstr>
      <vt:lpstr>Segoe UI Light</vt:lpstr>
      <vt:lpstr>Tahoma</vt:lpstr>
      <vt:lpstr>Times New Roman</vt:lpstr>
      <vt:lpstr>TimesTen-Roman</vt:lpstr>
      <vt:lpstr>Vrinda</vt:lpstr>
      <vt:lpstr>Wingdings</vt:lpstr>
      <vt:lpstr>Office Theme</vt:lpstr>
      <vt:lpstr>slidehunter.com</vt:lpstr>
      <vt:lpstr>Office 主题</vt:lpstr>
      <vt:lpstr>Gallery</vt:lpstr>
      <vt:lpstr>Project planning overview presentation</vt:lpstr>
      <vt:lpstr>think-cell Slide</vt:lpstr>
      <vt:lpstr>A  comparative study regarding the effect Of weight constraint in feature extraction From malware call graph</vt:lpstr>
      <vt:lpstr>Presented By                                   supervisor                              </vt:lpstr>
      <vt:lpstr> Antivirus Work Flow</vt:lpstr>
      <vt:lpstr> Antivirus Work Flow</vt:lpstr>
      <vt:lpstr>Our Proposed Framework </vt:lpstr>
      <vt:lpstr>PowerPoint Presentation</vt:lpstr>
      <vt:lpstr> DFS Code</vt:lpstr>
      <vt:lpstr>PowerPoint Presentation</vt:lpstr>
      <vt:lpstr> DFS Code and Isomorphic Graph</vt:lpstr>
      <vt:lpstr>PowerPoint Presentation</vt:lpstr>
      <vt:lpstr> DFS Code Tree</vt:lpstr>
      <vt:lpstr> Weighted gSpan</vt:lpstr>
      <vt:lpstr>Weighted gSpan Cont.</vt:lpstr>
      <vt:lpstr>Weighted gSpan Cont.</vt:lpstr>
      <vt:lpstr>Weighted gSpan Cont.</vt:lpstr>
      <vt:lpstr>Weighted gSpan Cont.</vt:lpstr>
      <vt:lpstr>Weighted gSpan Cont.</vt:lpstr>
      <vt:lpstr>Weighted gSpan Cont.</vt:lpstr>
      <vt:lpstr>Weighted gSpan Cont.</vt:lpstr>
      <vt:lpstr>Data Description</vt:lpstr>
      <vt:lpstr>Data Description Cont.</vt:lpstr>
      <vt:lpstr>PowerPoint Presentation</vt:lpstr>
      <vt:lpstr>Implementation Details</vt:lpstr>
      <vt:lpstr>PowerPoint Presentation</vt:lpstr>
      <vt:lpstr>Experimental Results (Step:1) Cont..</vt:lpstr>
      <vt:lpstr>Experimental Results (Step:2)</vt:lpstr>
      <vt:lpstr>Experimental Results (Step:3)</vt:lpstr>
      <vt:lpstr>Result Analysis (Step:4) </vt:lpstr>
      <vt:lpstr>Result Analysis (Step:4) </vt:lpstr>
      <vt:lpstr>Threshold vs Time</vt:lpstr>
      <vt:lpstr> </vt:lpstr>
      <vt:lpstr>THANK YOU</vt:lpstr>
      <vt:lpstr>Any Question ?</vt:lpstr>
      <vt:lpstr>Call Graph</vt:lpstr>
      <vt:lpstr>Binjuice</vt:lpstr>
      <vt:lpstr>gSpan Algorithm</vt:lpstr>
      <vt:lpstr>Canonical DFS Code Condition</vt:lpstr>
      <vt:lpstr>WFSM-MaxPWS Algorithm </vt:lpstr>
      <vt:lpstr>Call graph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 comparative study regarding the effect Of weight constraint in feature extraction From malware call graph</dc:title>
  <dc:creator>Raghib Shahriyer</dc:creator>
  <cp:lastModifiedBy>Orchid Sohag</cp:lastModifiedBy>
  <cp:revision>222</cp:revision>
  <dcterms:created xsi:type="dcterms:W3CDTF">2019-04-15T18:25:42Z</dcterms:created>
  <dcterms:modified xsi:type="dcterms:W3CDTF">2019-05-07T20:02:27Z</dcterms:modified>
</cp:coreProperties>
</file>